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autoCompressPictures="0">
  <p:sldMasterIdLst>
    <p:sldMasterId id="2147483672" r:id="rId1"/>
    <p:sldMasterId id="2147483674" r:id="rId2"/>
  </p:sldMasterIdLst>
  <p:notesMasterIdLst>
    <p:notesMasterId r:id="rId61"/>
  </p:notesMasterIdLst>
  <p:sldIdLst>
    <p:sldId id="377" r:id="rId3"/>
    <p:sldId id="378" r:id="rId4"/>
    <p:sldId id="358" r:id="rId5"/>
    <p:sldId id="359" r:id="rId6"/>
    <p:sldId id="379" r:id="rId7"/>
    <p:sldId id="420" r:id="rId8"/>
    <p:sldId id="380" r:id="rId9"/>
    <p:sldId id="381" r:id="rId10"/>
    <p:sldId id="382" r:id="rId11"/>
    <p:sldId id="383" r:id="rId12"/>
    <p:sldId id="384" r:id="rId13"/>
    <p:sldId id="385" r:id="rId14"/>
    <p:sldId id="363" r:id="rId15"/>
    <p:sldId id="364" r:id="rId16"/>
    <p:sldId id="386" r:id="rId17"/>
    <p:sldId id="366" r:id="rId18"/>
    <p:sldId id="387" r:id="rId19"/>
    <p:sldId id="369" r:id="rId20"/>
    <p:sldId id="376" r:id="rId21"/>
    <p:sldId id="388" r:id="rId22"/>
    <p:sldId id="389" r:id="rId23"/>
    <p:sldId id="390" r:id="rId24"/>
    <p:sldId id="391" r:id="rId25"/>
    <p:sldId id="392" r:id="rId26"/>
    <p:sldId id="370" r:id="rId27"/>
    <p:sldId id="393" r:id="rId28"/>
    <p:sldId id="394" r:id="rId29"/>
    <p:sldId id="395" r:id="rId30"/>
    <p:sldId id="396" r:id="rId31"/>
    <p:sldId id="397" r:id="rId32"/>
    <p:sldId id="398" r:id="rId33"/>
    <p:sldId id="361" r:id="rId34"/>
    <p:sldId id="374" r:id="rId35"/>
    <p:sldId id="375" r:id="rId36"/>
    <p:sldId id="399" r:id="rId37"/>
    <p:sldId id="400" r:id="rId38"/>
    <p:sldId id="401" r:id="rId39"/>
    <p:sldId id="402" r:id="rId40"/>
    <p:sldId id="403" r:id="rId41"/>
    <p:sldId id="371" r:id="rId42"/>
    <p:sldId id="405" r:id="rId43"/>
    <p:sldId id="404" r:id="rId44"/>
    <p:sldId id="406" r:id="rId45"/>
    <p:sldId id="407" r:id="rId46"/>
    <p:sldId id="410" r:id="rId47"/>
    <p:sldId id="408" r:id="rId48"/>
    <p:sldId id="409" r:id="rId49"/>
    <p:sldId id="411" r:id="rId50"/>
    <p:sldId id="372" r:id="rId51"/>
    <p:sldId id="412" r:id="rId52"/>
    <p:sldId id="413" r:id="rId53"/>
    <p:sldId id="414" r:id="rId54"/>
    <p:sldId id="373" r:id="rId55"/>
    <p:sldId id="415" r:id="rId56"/>
    <p:sldId id="416" r:id="rId57"/>
    <p:sldId id="417" r:id="rId58"/>
    <p:sldId id="418" r:id="rId59"/>
    <p:sldId id="419" r:id="rId60"/>
  </p:sldIdLst>
  <p:sldSz cx="9144000" cy="5143500" type="screen16x9"/>
  <p:notesSz cx="6858000" cy="9144000"/>
  <p:embeddedFontLst>
    <p:embeddedFont>
      <p:font typeface="Be Vietnam Pro" charset="0"/>
      <p:regular r:id="rId62"/>
      <p:bold r:id="rId63"/>
      <p:italic r:id="rId64"/>
      <p:boldItalic r:id="rId65"/>
    </p:embeddedFont>
    <p:embeddedFont>
      <p:font typeface="Khmer OS Battambang" pitchFamily="2" charset="0"/>
      <p:regular r:id="rId66"/>
    </p:embeddedFont>
    <p:embeddedFont>
      <p:font typeface="Georgia" pitchFamily="18" charset="0"/>
      <p:regular r:id="rId67"/>
      <p:bold r:id="rId68"/>
      <p:italic r:id="rId69"/>
      <p:boldItalic r:id="rId70"/>
    </p:embeddedFont>
    <p:embeddedFont>
      <p:font typeface="Calibri" pitchFamily="34" charset="0"/>
      <p:regular r:id="rId71"/>
      <p:bold r:id="rId72"/>
      <p:italic r:id="rId73"/>
      <p:boldItalic r:id="rId74"/>
    </p:embeddedFont>
    <p:embeddedFont>
      <p:font typeface="Khmer Moul" pitchFamily="18" charset="0"/>
      <p:regular r:id="rId75"/>
    </p:embeddedFont>
    <p:embeddedFont>
      <p:font typeface="Ang DaunKeo" pitchFamily="34" charset="0"/>
      <p:regular r:id="rId76"/>
    </p:embeddedFont>
    <p:embeddedFont>
      <p:font typeface="AKbalthom HighSchool-Frame" pitchFamily="2" charset="0"/>
      <p:regular r:id="rId77"/>
    </p:embeddedFont>
    <p:embeddedFont>
      <p:font typeface="MoolBoran" pitchFamily="34" charset="0"/>
      <p:regular r:id="rId78"/>
    </p:embeddedFont>
    <p:embeddedFont>
      <p:font typeface="AKbalthom SuperheroKH" pitchFamily="2" charset="0"/>
      <p:regular r:id="rId79"/>
    </p:embeddedFont>
    <p:embeddedFont>
      <p:font typeface="Segoe UI Semibold" pitchFamily="34" charset="0"/>
      <p:bold r:id="rId80"/>
      <p:boldItalic r:id="rId81"/>
    </p:embeddedFont>
    <p:embeddedFont>
      <p:font typeface="DaunPenh" pitchFamily="2" charset="0"/>
      <p:regular r:id="rId82"/>
    </p:embeddedFont>
    <p:embeddedFont>
      <p:font typeface="សម្រាប់កូនខ្មែរ" pitchFamily="2" charset="0"/>
      <p:regular r:id="rId83"/>
    </p:embeddedFont>
    <p:embeddedFont>
      <p:font typeface="Segoe UI Black" pitchFamily="34" charset="0"/>
      <p:bold r:id="rId84"/>
      <p:boldItalic r:id="rId85"/>
    </p:embeddedFont>
    <p:embeddedFont>
      <p:font typeface="Segoe UI Emoji" pitchFamily="34" charset="0"/>
      <p:regular r:id="rId86"/>
    </p:embeddedFont>
    <p:embeddedFont>
      <p:font typeface="DM Sans" charset="0"/>
      <p:regular r:id="rId87"/>
      <p:bold r:id="rId88"/>
      <p:italic r:id="rId89"/>
      <p:boldItalic r:id="rId90"/>
    </p:embeddedFont>
    <p:embeddedFont>
      <p:font typeface="Be Vietnam Pro Light" charset="0"/>
      <p:regular r:id="rId91"/>
      <p:bold r:id="rId92"/>
      <p:italic r:id="rId93"/>
      <p:boldItalic r:id="rId94"/>
    </p:embeddedFont>
    <p:embeddedFont>
      <p:font typeface="Nunito Light" charset="0"/>
      <p:regular r:id="rId95"/>
      <p:italic r:id="rId96"/>
    </p:embeddedFont>
    <p:embeddedFont>
      <p:font typeface="Cabin" charset="0"/>
      <p:regular r:id="rId97"/>
      <p:bold r:id="rId98"/>
      <p:italic r:id="rId99"/>
      <p:boldItalic r:id="rId100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Default Section" id="{0C27C389-831D-4D01-BD6C-76A044F4F617}">
          <p14:sldIdLst>
            <p14:sldId id="377"/>
            <p14:sldId id="378"/>
            <p14:sldId id="358"/>
          </p14:sldIdLst>
        </p14:section>
        <p14:section name="Section 5" id="{0EB4FA21-F44F-465C-8B7D-BAF03D729DF0}">
          <p14:sldIdLst>
            <p14:sldId id="359"/>
            <p14:sldId id="379"/>
            <p14:sldId id="420"/>
            <p14:sldId id="380"/>
            <p14:sldId id="381"/>
            <p14:sldId id="382"/>
            <p14:sldId id="383"/>
            <p14:sldId id="384"/>
            <p14:sldId id="385"/>
          </p14:sldIdLst>
        </p14:section>
        <p14:section name="Section 6" id="{45F1C43F-650F-43E0-8918-713D1181DB0F}">
          <p14:sldIdLst>
            <p14:sldId id="363"/>
            <p14:sldId id="364"/>
            <p14:sldId id="386"/>
            <p14:sldId id="366"/>
            <p14:sldId id="387"/>
            <p14:sldId id="369"/>
            <p14:sldId id="376"/>
            <p14:sldId id="388"/>
            <p14:sldId id="389"/>
            <p14:sldId id="390"/>
            <p14:sldId id="391"/>
            <p14:sldId id="392"/>
            <p14:sldId id="370"/>
            <p14:sldId id="393"/>
            <p14:sldId id="394"/>
            <p14:sldId id="395"/>
            <p14:sldId id="396"/>
            <p14:sldId id="397"/>
            <p14:sldId id="398"/>
          </p14:sldIdLst>
        </p14:section>
        <p14:section name="Section 7" id="{A32673E2-21EB-45D1-91A7-A0D38F78045C}">
          <p14:sldIdLst>
            <p14:sldId id="361"/>
            <p14:sldId id="374"/>
            <p14:sldId id="375"/>
            <p14:sldId id="399"/>
            <p14:sldId id="400"/>
            <p14:sldId id="401"/>
            <p14:sldId id="402"/>
            <p14:sldId id="403"/>
            <p14:sldId id="371"/>
            <p14:sldId id="405"/>
            <p14:sldId id="404"/>
            <p14:sldId id="406"/>
            <p14:sldId id="407"/>
            <p14:sldId id="410"/>
            <p14:sldId id="408"/>
            <p14:sldId id="409"/>
            <p14:sldId id="411"/>
            <p14:sldId id="372"/>
            <p14:sldId id="412"/>
            <p14:sldId id="413"/>
            <p14:sldId id="414"/>
            <p14:sldId id="373"/>
            <p14:sldId id="415"/>
            <p14:sldId id="416"/>
            <p14:sldId id="417"/>
            <p14:sldId id="418"/>
            <p14:sldId id="419"/>
          </p14:sldIdLst>
        </p14:section>
      </p14:sectionLst>
    </p:ex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56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77E7F00A-92C5-490C-905F-76E88450524C}">
  <a:tblStyle styleId="{77E7F00A-92C5-490C-905F-76E88450524C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F6862628-906B-4437-BC55-811CDAFCC5B2}" styleName="Table_1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337" autoAdjust="0"/>
    <p:restoredTop sz="96086" autoAdjust="0"/>
  </p:normalViewPr>
  <p:slideViewPr>
    <p:cSldViewPr snapToGrid="0">
      <p:cViewPr>
        <p:scale>
          <a:sx n="123" d="100"/>
          <a:sy n="123" d="100"/>
        </p:scale>
        <p:origin x="-288" y="-14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63" Type="http://schemas.openxmlformats.org/officeDocument/2006/relationships/font" Target="fonts/font2.fntdata"/><Relationship Id="rId68" Type="http://schemas.openxmlformats.org/officeDocument/2006/relationships/font" Target="fonts/font7.fntdata"/><Relationship Id="rId84" Type="http://schemas.openxmlformats.org/officeDocument/2006/relationships/font" Target="fonts/font23.fntdata"/><Relationship Id="rId89" Type="http://schemas.openxmlformats.org/officeDocument/2006/relationships/font" Target="fonts/font28.fntdata"/><Relationship Id="rId7" Type="http://schemas.openxmlformats.org/officeDocument/2006/relationships/slide" Target="slides/slide5.xml"/><Relationship Id="rId71" Type="http://schemas.openxmlformats.org/officeDocument/2006/relationships/font" Target="fonts/font10.fntdata"/><Relationship Id="rId92" Type="http://schemas.openxmlformats.org/officeDocument/2006/relationships/font" Target="fonts/font31.fntdata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66" Type="http://schemas.openxmlformats.org/officeDocument/2006/relationships/font" Target="fonts/font5.fntdata"/><Relationship Id="rId74" Type="http://schemas.openxmlformats.org/officeDocument/2006/relationships/font" Target="fonts/font13.fntdata"/><Relationship Id="rId79" Type="http://schemas.openxmlformats.org/officeDocument/2006/relationships/font" Target="fonts/font18.fntdata"/><Relationship Id="rId87" Type="http://schemas.openxmlformats.org/officeDocument/2006/relationships/font" Target="fonts/font26.fntdata"/><Relationship Id="rId102" Type="http://schemas.openxmlformats.org/officeDocument/2006/relationships/viewProps" Target="viewProps.xml"/><Relationship Id="rId5" Type="http://schemas.openxmlformats.org/officeDocument/2006/relationships/slide" Target="slides/slide3.xml"/><Relationship Id="rId61" Type="http://schemas.openxmlformats.org/officeDocument/2006/relationships/notesMaster" Target="notesMasters/notesMaster1.xml"/><Relationship Id="rId82" Type="http://schemas.openxmlformats.org/officeDocument/2006/relationships/font" Target="fonts/font21.fntdata"/><Relationship Id="rId90" Type="http://schemas.openxmlformats.org/officeDocument/2006/relationships/font" Target="fonts/font29.fntdata"/><Relationship Id="rId95" Type="http://schemas.openxmlformats.org/officeDocument/2006/relationships/font" Target="fonts/font34.fntdata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font" Target="fonts/font3.fntdata"/><Relationship Id="rId69" Type="http://schemas.openxmlformats.org/officeDocument/2006/relationships/font" Target="fonts/font8.fntdata"/><Relationship Id="rId77" Type="http://schemas.openxmlformats.org/officeDocument/2006/relationships/font" Target="fonts/font16.fntdata"/><Relationship Id="rId100" Type="http://schemas.openxmlformats.org/officeDocument/2006/relationships/font" Target="fonts/font39.fntdata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font" Target="fonts/font11.fntdata"/><Relationship Id="rId80" Type="http://schemas.openxmlformats.org/officeDocument/2006/relationships/font" Target="fonts/font19.fntdata"/><Relationship Id="rId85" Type="http://schemas.openxmlformats.org/officeDocument/2006/relationships/font" Target="fonts/font24.fntdata"/><Relationship Id="rId93" Type="http://schemas.openxmlformats.org/officeDocument/2006/relationships/font" Target="fonts/font32.fntdata"/><Relationship Id="rId98" Type="http://schemas.openxmlformats.org/officeDocument/2006/relationships/font" Target="fonts/font37.fntdata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font" Target="fonts/font6.fntdata"/><Relationship Id="rId103" Type="http://schemas.openxmlformats.org/officeDocument/2006/relationships/theme" Target="theme/theme1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font" Target="fonts/font1.fntdata"/><Relationship Id="rId70" Type="http://schemas.openxmlformats.org/officeDocument/2006/relationships/font" Target="fonts/font9.fntdata"/><Relationship Id="rId75" Type="http://schemas.openxmlformats.org/officeDocument/2006/relationships/font" Target="fonts/font14.fntdata"/><Relationship Id="rId83" Type="http://schemas.openxmlformats.org/officeDocument/2006/relationships/font" Target="fonts/font22.fntdata"/><Relationship Id="rId88" Type="http://schemas.openxmlformats.org/officeDocument/2006/relationships/font" Target="fonts/font27.fntdata"/><Relationship Id="rId91" Type="http://schemas.openxmlformats.org/officeDocument/2006/relationships/font" Target="fonts/font30.fntdata"/><Relationship Id="rId96" Type="http://schemas.openxmlformats.org/officeDocument/2006/relationships/font" Target="fonts/font35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font" Target="fonts/font4.fntdata"/><Relationship Id="rId73" Type="http://schemas.openxmlformats.org/officeDocument/2006/relationships/font" Target="fonts/font12.fntdata"/><Relationship Id="rId78" Type="http://schemas.openxmlformats.org/officeDocument/2006/relationships/font" Target="fonts/font17.fntdata"/><Relationship Id="rId81" Type="http://schemas.openxmlformats.org/officeDocument/2006/relationships/font" Target="fonts/font20.fntdata"/><Relationship Id="rId86" Type="http://schemas.openxmlformats.org/officeDocument/2006/relationships/font" Target="fonts/font25.fntdata"/><Relationship Id="rId94" Type="http://schemas.openxmlformats.org/officeDocument/2006/relationships/font" Target="fonts/font33.fntdata"/><Relationship Id="rId99" Type="http://schemas.openxmlformats.org/officeDocument/2006/relationships/font" Target="fonts/font38.fntdata"/><Relationship Id="rId101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Relationship Id="rId34" Type="http://schemas.openxmlformats.org/officeDocument/2006/relationships/slide" Target="slides/slide32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6" Type="http://schemas.openxmlformats.org/officeDocument/2006/relationships/font" Target="fonts/font15.fntdata"/><Relationship Id="rId97" Type="http://schemas.openxmlformats.org/officeDocument/2006/relationships/font" Target="fonts/font36.fntdata"/><Relationship Id="rId10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74525320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Google Shape;200;g4dfce81f19_0_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1" name="Google Shape;201;g4dfce81f19_0_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033364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Google Shape;208;gd431007ba2_0_20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9" name="Google Shape;209;gd431007ba2_0_20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1043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7324DA73-AE27-4433-BD53-3E1DB61918F0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70483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Google Shape;208;gd431007ba2_0_20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9" name="Google Shape;209;gd431007ba2_0_20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0238106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oogle Shape;9;p2"/>
          <p:cNvPicPr preferRelativeResize="0"/>
          <p:nvPr/>
        </p:nvPicPr>
        <p:blipFill rotWithShape="1">
          <a:blip r:embed="rId2">
            <a:alphaModFix amt="15000"/>
          </a:blip>
          <a:srcRect l="277" t="8994" r="496" b="7260"/>
          <a:stretch/>
        </p:blipFill>
        <p:spPr>
          <a:xfrm>
            <a:off x="0" y="0"/>
            <a:ext cx="9144003" cy="514350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" name="Google Shape;10;p2"/>
          <p:cNvCxnSpPr/>
          <p:nvPr/>
        </p:nvCxnSpPr>
        <p:spPr>
          <a:xfrm rot="10800000">
            <a:off x="112" y="86600"/>
            <a:ext cx="61911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1" name="Google Shape;11;p2"/>
          <p:cNvCxnSpPr/>
          <p:nvPr/>
        </p:nvCxnSpPr>
        <p:spPr>
          <a:xfrm rot="10800000">
            <a:off x="112" y="539500"/>
            <a:ext cx="61911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2" name="Google Shape;12;p2"/>
          <p:cNvCxnSpPr/>
          <p:nvPr/>
        </p:nvCxnSpPr>
        <p:spPr>
          <a:xfrm rot="10800000">
            <a:off x="100" y="4604000"/>
            <a:ext cx="92775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3" name="Google Shape;13;p2"/>
          <p:cNvSpPr/>
          <p:nvPr/>
        </p:nvSpPr>
        <p:spPr>
          <a:xfrm>
            <a:off x="230760" y="184052"/>
            <a:ext cx="258000" cy="258000"/>
          </a:xfrm>
          <a:prstGeom prst="ellipse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Cabin"/>
              <a:ea typeface="Cabin"/>
              <a:cs typeface="Cabin"/>
              <a:sym typeface="Cabin"/>
            </a:endParaRPr>
          </a:p>
        </p:txBody>
      </p:sp>
      <p:sp>
        <p:nvSpPr>
          <p:cNvPr id="14" name="Google Shape;14;p2"/>
          <p:cNvSpPr txBox="1">
            <a:spLocks noGrp="1"/>
          </p:cNvSpPr>
          <p:nvPr>
            <p:ph type="ctrTitle"/>
          </p:nvPr>
        </p:nvSpPr>
        <p:spPr>
          <a:xfrm>
            <a:off x="729799" y="1522250"/>
            <a:ext cx="5015700" cy="2048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4000" b="0">
                <a:latin typeface="Be Vietnam Pro Light"/>
                <a:ea typeface="Be Vietnam Pro Light"/>
                <a:cs typeface="Be Vietnam Pro Light"/>
                <a:sym typeface="Be Vietnam Pro Light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5200">
                <a:solidFill>
                  <a:srgbClr val="191919"/>
                </a:solidFill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5200">
                <a:solidFill>
                  <a:srgbClr val="191919"/>
                </a:solidFill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5200">
                <a:solidFill>
                  <a:srgbClr val="191919"/>
                </a:solidFill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5200">
                <a:solidFill>
                  <a:srgbClr val="191919"/>
                </a:solidFill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5200">
                <a:solidFill>
                  <a:srgbClr val="191919"/>
                </a:solidFill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5200">
                <a:solidFill>
                  <a:srgbClr val="191919"/>
                </a:solidFill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5200">
                <a:solidFill>
                  <a:srgbClr val="191919"/>
                </a:solidFill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5200">
                <a:solidFill>
                  <a:srgbClr val="191919"/>
                </a:solidFill>
              </a:defRPr>
            </a:lvl9pPr>
          </a:lstStyle>
          <a:p>
            <a:endParaRPr/>
          </a:p>
        </p:txBody>
      </p:sp>
      <p:sp>
        <p:nvSpPr>
          <p:cNvPr id="15" name="Google Shape;15;p2"/>
          <p:cNvSpPr txBox="1">
            <a:spLocks noGrp="1"/>
          </p:cNvSpPr>
          <p:nvPr>
            <p:ph type="subTitle" idx="1"/>
          </p:nvPr>
        </p:nvSpPr>
        <p:spPr>
          <a:xfrm>
            <a:off x="729801" y="4041150"/>
            <a:ext cx="4311600" cy="475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40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16" name="Google Shape;16;p2"/>
          <p:cNvSpPr>
            <a:spLocks noGrp="1"/>
          </p:cNvSpPr>
          <p:nvPr>
            <p:ph type="pic" idx="2"/>
          </p:nvPr>
        </p:nvSpPr>
        <p:spPr>
          <a:xfrm>
            <a:off x="6197400" y="0"/>
            <a:ext cx="2946600" cy="5143500"/>
          </a:xfrm>
          <a:prstGeom prst="rect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651510" y="288036"/>
            <a:ext cx="8058150" cy="649986"/>
          </a:xfrm>
          <a:prstGeom prst="rect">
            <a:avLst/>
          </a:prstGeom>
        </p:spPr>
        <p:txBody>
          <a:bodyPr numCol="1"/>
          <a:lstStyle/>
          <a:p>
            <a:r>
              <a:rPr lang="en-US" dirty="0"/>
              <a:t>Click to edit Master title style</a:t>
            </a:r>
            <a:endParaRPr lang="en-GB" altLang="en-GB" dirty="0"/>
          </a:p>
        </p:txBody>
      </p:sp>
      <p:sp>
        <p:nvSpPr>
          <p:cNvPr id="3" name="Content"/>
          <p:cNvSpPr>
            <a:spLocks noGrp="1"/>
          </p:cNvSpPr>
          <p:nvPr>
            <p:ph idx="11"/>
          </p:nvPr>
        </p:nvSpPr>
        <p:spPr>
          <a:xfrm>
            <a:off x="651510" y="1049274"/>
            <a:ext cx="8058150" cy="3696462"/>
          </a:xfrm>
          <a:prstGeom prst="rect">
            <a:avLst/>
          </a:prstGeom>
        </p:spPr>
        <p:txBody>
          <a:bodyPr numCol="1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alt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028543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Google Shape;27;p4"/>
          <p:cNvPicPr preferRelativeResize="0"/>
          <p:nvPr/>
        </p:nvPicPr>
        <p:blipFill rotWithShape="1">
          <a:blip r:embed="rId2">
            <a:alphaModFix amt="18000"/>
          </a:blip>
          <a:srcRect t="7798" b="7806"/>
          <a:stretch/>
        </p:blipFill>
        <p:spPr>
          <a:xfrm>
            <a:off x="0" y="0"/>
            <a:ext cx="9144003" cy="514350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8" name="Google Shape;28;p4"/>
          <p:cNvCxnSpPr/>
          <p:nvPr/>
        </p:nvCxnSpPr>
        <p:spPr>
          <a:xfrm rot="10800000">
            <a:off x="0" y="4604000"/>
            <a:ext cx="91578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9" name="Google Shape;29;p4"/>
          <p:cNvCxnSpPr/>
          <p:nvPr/>
        </p:nvCxnSpPr>
        <p:spPr>
          <a:xfrm rot="10800000">
            <a:off x="75" y="534225"/>
            <a:ext cx="91743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0" name="Google Shape;30;p4"/>
          <p:cNvSpPr/>
          <p:nvPr/>
        </p:nvSpPr>
        <p:spPr>
          <a:xfrm>
            <a:off x="8621043" y="126072"/>
            <a:ext cx="258000" cy="258000"/>
          </a:xfrm>
          <a:prstGeom prst="ellipse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Cabin"/>
              <a:ea typeface="Cabin"/>
              <a:cs typeface="Cabin"/>
              <a:sym typeface="Cabin"/>
            </a:endParaRPr>
          </a:p>
        </p:txBody>
      </p:sp>
      <p:sp>
        <p:nvSpPr>
          <p:cNvPr id="31" name="Google Shape;31;p4"/>
          <p:cNvSpPr txBox="1">
            <a:spLocks noGrp="1"/>
          </p:cNvSpPr>
          <p:nvPr>
            <p:ph type="body" idx="1"/>
          </p:nvPr>
        </p:nvSpPr>
        <p:spPr>
          <a:xfrm>
            <a:off x="720000" y="1215750"/>
            <a:ext cx="7704000" cy="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Font typeface="Nunito Light"/>
              <a:buChar char="●"/>
              <a:defRPr/>
            </a:lvl1pPr>
            <a:lvl2pPr marL="914400" lvl="1" indent="-3048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Font typeface="Nunito Light"/>
              <a:buChar char="○"/>
              <a:defRPr/>
            </a:lvl2pPr>
            <a:lvl3pPr marL="1371600" lvl="2" indent="-3048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Font typeface="Nunito Light"/>
              <a:buChar char="■"/>
              <a:defRPr/>
            </a:lvl3pPr>
            <a:lvl4pPr marL="1828800" lvl="3" indent="-3048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Font typeface="Nunito Light"/>
              <a:buChar char="●"/>
              <a:defRPr/>
            </a:lvl4pPr>
            <a:lvl5pPr marL="2286000" lvl="4" indent="-3048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Font typeface="Nunito Light"/>
              <a:buChar char="○"/>
              <a:defRPr/>
            </a:lvl5pPr>
            <a:lvl6pPr marL="2743200" lvl="5" indent="-3048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Font typeface="Nunito Light"/>
              <a:buChar char="■"/>
              <a:defRPr/>
            </a:lvl6pPr>
            <a:lvl7pPr marL="3200400" lvl="6" indent="-3048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Font typeface="Nunito Light"/>
              <a:buChar char="●"/>
              <a:defRPr/>
            </a:lvl7pPr>
            <a:lvl8pPr marL="3657600" lvl="7" indent="-3048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Font typeface="Nunito Light"/>
              <a:buChar char="○"/>
              <a:defRPr/>
            </a:lvl8pPr>
            <a:lvl9pPr marL="4114800" lvl="8" indent="-3048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Font typeface="Nunito Light"/>
              <a:buChar char="■"/>
              <a:defRPr/>
            </a:lvl9pPr>
          </a:lstStyle>
          <a:p>
            <a:endParaRPr/>
          </a:p>
        </p:txBody>
      </p:sp>
      <p:sp>
        <p:nvSpPr>
          <p:cNvPr id="32" name="Google Shape;32;p4"/>
          <p:cNvSpPr txBox="1">
            <a:spLocks noGrp="1"/>
          </p:cNvSpPr>
          <p:nvPr>
            <p:ph type="title"/>
          </p:nvPr>
        </p:nvSpPr>
        <p:spPr>
          <a:xfrm>
            <a:off x="713225" y="547956"/>
            <a:ext cx="7717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" name="Google Shape;57;p8"/>
          <p:cNvPicPr preferRelativeResize="0"/>
          <p:nvPr/>
        </p:nvPicPr>
        <p:blipFill rotWithShape="1">
          <a:blip r:embed="rId2">
            <a:alphaModFix amt="15000"/>
          </a:blip>
          <a:srcRect l="277" t="8994" r="496" b="7260"/>
          <a:stretch/>
        </p:blipFill>
        <p:spPr>
          <a:xfrm flipH="1">
            <a:off x="-3" y="0"/>
            <a:ext cx="9144003" cy="5143501"/>
          </a:xfrm>
          <a:prstGeom prst="rect">
            <a:avLst/>
          </a:prstGeom>
          <a:noFill/>
          <a:ln>
            <a:noFill/>
          </a:ln>
        </p:spPr>
      </p:pic>
      <p:sp>
        <p:nvSpPr>
          <p:cNvPr id="58" name="Google Shape;58;p8"/>
          <p:cNvSpPr>
            <a:spLocks noGrp="1"/>
          </p:cNvSpPr>
          <p:nvPr>
            <p:ph type="pic" idx="2"/>
          </p:nvPr>
        </p:nvSpPr>
        <p:spPr>
          <a:xfrm flipH="1">
            <a:off x="150" y="0"/>
            <a:ext cx="3163800" cy="5143500"/>
          </a:xfrm>
          <a:prstGeom prst="rect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9" name="Google Shape;59;p8"/>
          <p:cNvSpPr txBox="1">
            <a:spLocks noGrp="1"/>
          </p:cNvSpPr>
          <p:nvPr>
            <p:ph type="title"/>
          </p:nvPr>
        </p:nvSpPr>
        <p:spPr>
          <a:xfrm>
            <a:off x="3909867" y="1470750"/>
            <a:ext cx="4508100" cy="2202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9pPr>
          </a:lstStyle>
          <a:p>
            <a:endParaRPr/>
          </a:p>
        </p:txBody>
      </p:sp>
      <p:cxnSp>
        <p:nvCxnSpPr>
          <p:cNvPr id="60" name="Google Shape;60;p8"/>
          <p:cNvCxnSpPr/>
          <p:nvPr/>
        </p:nvCxnSpPr>
        <p:spPr>
          <a:xfrm>
            <a:off x="3188800" y="86600"/>
            <a:ext cx="59553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1" name="Google Shape;61;p8"/>
          <p:cNvCxnSpPr/>
          <p:nvPr/>
        </p:nvCxnSpPr>
        <p:spPr>
          <a:xfrm>
            <a:off x="3180517" y="539500"/>
            <a:ext cx="59550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2" name="Google Shape;62;p8"/>
          <p:cNvCxnSpPr/>
          <p:nvPr/>
        </p:nvCxnSpPr>
        <p:spPr>
          <a:xfrm>
            <a:off x="-133600" y="4604000"/>
            <a:ext cx="92775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63" name="Google Shape;63;p8"/>
          <p:cNvSpPr/>
          <p:nvPr/>
        </p:nvSpPr>
        <p:spPr>
          <a:xfrm flipH="1">
            <a:off x="8655240" y="184052"/>
            <a:ext cx="258000" cy="258000"/>
          </a:xfrm>
          <a:prstGeom prst="ellipse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Cabin"/>
              <a:ea typeface="Cabin"/>
              <a:cs typeface="Cabin"/>
              <a:sym typeface="Cabin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" name="Google Shape;65;p9"/>
          <p:cNvPicPr preferRelativeResize="0"/>
          <p:nvPr/>
        </p:nvPicPr>
        <p:blipFill rotWithShape="1">
          <a:blip r:embed="rId2">
            <a:alphaModFix amt="15000"/>
          </a:blip>
          <a:srcRect l="277" t="8994" r="496" b="7260"/>
          <a:stretch/>
        </p:blipFill>
        <p:spPr>
          <a:xfrm rot="10800000" flipH="1">
            <a:off x="25622" y="1049"/>
            <a:ext cx="9144003" cy="5143501"/>
          </a:xfrm>
          <a:prstGeom prst="rect">
            <a:avLst/>
          </a:prstGeom>
          <a:noFill/>
          <a:ln>
            <a:noFill/>
          </a:ln>
        </p:spPr>
      </p:pic>
      <p:sp>
        <p:nvSpPr>
          <p:cNvPr id="66" name="Google Shape;66;p9"/>
          <p:cNvSpPr>
            <a:spLocks noGrp="1"/>
          </p:cNvSpPr>
          <p:nvPr>
            <p:ph type="pic" idx="2"/>
          </p:nvPr>
        </p:nvSpPr>
        <p:spPr>
          <a:xfrm flipH="1">
            <a:off x="25574" y="0"/>
            <a:ext cx="3577500" cy="5143500"/>
          </a:xfrm>
          <a:prstGeom prst="rect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7" name="Google Shape;67;p9"/>
          <p:cNvSpPr/>
          <p:nvPr/>
        </p:nvSpPr>
        <p:spPr>
          <a:xfrm rot="10800000" flipH="1">
            <a:off x="8163149" y="208959"/>
            <a:ext cx="258000" cy="258000"/>
          </a:xfrm>
          <a:prstGeom prst="ellipse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Cabin"/>
              <a:ea typeface="Cabin"/>
              <a:cs typeface="Cabin"/>
              <a:sym typeface="Cabin"/>
            </a:endParaRPr>
          </a:p>
        </p:txBody>
      </p:sp>
      <p:cxnSp>
        <p:nvCxnSpPr>
          <p:cNvPr id="68" name="Google Shape;68;p9"/>
          <p:cNvCxnSpPr/>
          <p:nvPr/>
        </p:nvCxnSpPr>
        <p:spPr>
          <a:xfrm rot="10800000">
            <a:off x="25" y="4631750"/>
            <a:ext cx="86553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9" name="Google Shape;69;p9"/>
          <p:cNvCxnSpPr/>
          <p:nvPr/>
        </p:nvCxnSpPr>
        <p:spPr>
          <a:xfrm>
            <a:off x="8645206" y="-3225"/>
            <a:ext cx="0" cy="51510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70" name="Google Shape;70;p9"/>
          <p:cNvSpPr txBox="1">
            <a:spLocks noGrp="1"/>
          </p:cNvSpPr>
          <p:nvPr>
            <p:ph type="title"/>
          </p:nvPr>
        </p:nvSpPr>
        <p:spPr>
          <a:xfrm>
            <a:off x="3735750" y="1254000"/>
            <a:ext cx="4695000" cy="1964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9pPr>
          </a:lstStyle>
          <a:p>
            <a:endParaRPr/>
          </a:p>
        </p:txBody>
      </p:sp>
      <p:sp>
        <p:nvSpPr>
          <p:cNvPr id="71" name="Google Shape;71;p9"/>
          <p:cNvSpPr txBox="1">
            <a:spLocks noGrp="1"/>
          </p:cNvSpPr>
          <p:nvPr>
            <p:ph type="subTitle" idx="1"/>
          </p:nvPr>
        </p:nvSpPr>
        <p:spPr>
          <a:xfrm>
            <a:off x="3735750" y="3218400"/>
            <a:ext cx="4695000" cy="671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oogle Shape;73;p10"/>
          <p:cNvSpPr>
            <a:spLocks noGrp="1"/>
          </p:cNvSpPr>
          <p:nvPr>
            <p:ph type="pic" idx="2"/>
          </p:nvPr>
        </p:nvSpPr>
        <p:spPr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sp>
      <p:sp>
        <p:nvSpPr>
          <p:cNvPr id="74" name="Google Shape;74;p10"/>
          <p:cNvSpPr txBox="1">
            <a:spLocks noGrp="1"/>
          </p:cNvSpPr>
          <p:nvPr>
            <p:ph type="title"/>
          </p:nvPr>
        </p:nvSpPr>
        <p:spPr>
          <a:xfrm>
            <a:off x="720000" y="4014450"/>
            <a:ext cx="7704000" cy="572700"/>
          </a:xfrm>
          <a:prstGeom prst="rect">
            <a:avLst/>
          </a:prstGeom>
          <a:solidFill>
            <a:schemeClr val="accent2"/>
          </a:solidFill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">
  <p:cSld name="CUSTOM_9">
    <p:spTree>
      <p:nvGrpSpPr>
        <p:cNvPr id="1" name="Shape 1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" name="Google Shape;184;p22"/>
          <p:cNvPicPr preferRelativeResize="0"/>
          <p:nvPr/>
        </p:nvPicPr>
        <p:blipFill rotWithShape="1">
          <a:blip r:embed="rId2">
            <a:alphaModFix amt="15000"/>
          </a:blip>
          <a:srcRect l="277" t="8994" r="496" b="7260"/>
          <a:stretch/>
        </p:blipFill>
        <p:spPr>
          <a:xfrm>
            <a:off x="30372" y="0"/>
            <a:ext cx="9144003" cy="514350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85" name="Google Shape;185;p22"/>
          <p:cNvCxnSpPr/>
          <p:nvPr/>
        </p:nvCxnSpPr>
        <p:spPr>
          <a:xfrm>
            <a:off x="16575" y="4680200"/>
            <a:ext cx="91578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22"/>
          <p:cNvCxnSpPr/>
          <p:nvPr/>
        </p:nvCxnSpPr>
        <p:spPr>
          <a:xfrm>
            <a:off x="0" y="305625"/>
            <a:ext cx="91743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87" name="Google Shape;187;p22"/>
          <p:cNvSpPr/>
          <p:nvPr/>
        </p:nvSpPr>
        <p:spPr>
          <a:xfrm flipH="1">
            <a:off x="8693907" y="4249147"/>
            <a:ext cx="258000" cy="258000"/>
          </a:xfrm>
          <a:prstGeom prst="ellipse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Cabin"/>
              <a:ea typeface="Cabin"/>
              <a:cs typeface="Cabin"/>
              <a:sym typeface="Cabin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>
  <p:cSld name="CUSTOM_9_1"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9" name="Google Shape;189;p23"/>
          <p:cNvPicPr preferRelativeResize="0"/>
          <p:nvPr/>
        </p:nvPicPr>
        <p:blipFill rotWithShape="1">
          <a:blip r:embed="rId2">
            <a:alphaModFix amt="15000"/>
          </a:blip>
          <a:srcRect l="277" t="8994" r="496" b="7260"/>
          <a:stretch/>
        </p:blipFill>
        <p:spPr>
          <a:xfrm flipH="1">
            <a:off x="-8283" y="2699"/>
            <a:ext cx="9144003" cy="5143501"/>
          </a:xfrm>
          <a:prstGeom prst="rect">
            <a:avLst/>
          </a:prstGeom>
          <a:noFill/>
          <a:ln>
            <a:noFill/>
          </a:ln>
        </p:spPr>
      </p:pic>
      <p:sp>
        <p:nvSpPr>
          <p:cNvPr id="190" name="Google Shape;190;p23"/>
          <p:cNvSpPr/>
          <p:nvPr/>
        </p:nvSpPr>
        <p:spPr>
          <a:xfrm rot="10800000">
            <a:off x="-8106" y="2600"/>
            <a:ext cx="333900" cy="5143500"/>
          </a:xfrm>
          <a:prstGeom prst="rect">
            <a:avLst/>
          </a:prstGeom>
          <a:solidFill>
            <a:srgbClr val="FF560D">
              <a:alpha val="4114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Cabin"/>
              <a:ea typeface="Cabin"/>
              <a:cs typeface="Cabin"/>
              <a:sym typeface="Cabin"/>
            </a:endParaRPr>
          </a:p>
        </p:txBody>
      </p:sp>
      <p:cxnSp>
        <p:nvCxnSpPr>
          <p:cNvPr id="191" name="Google Shape;191;p23"/>
          <p:cNvCxnSpPr/>
          <p:nvPr/>
        </p:nvCxnSpPr>
        <p:spPr>
          <a:xfrm>
            <a:off x="597094" y="-11100"/>
            <a:ext cx="0" cy="51684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92" name="Google Shape;192;p23"/>
          <p:cNvCxnSpPr/>
          <p:nvPr/>
        </p:nvCxnSpPr>
        <p:spPr>
          <a:xfrm>
            <a:off x="599101" y="280470"/>
            <a:ext cx="85449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651510" y="288036"/>
            <a:ext cx="8058150" cy="649986"/>
          </a:xfrm>
          <a:prstGeom prst="rect">
            <a:avLst/>
          </a:prstGeom>
        </p:spPr>
        <p:txBody>
          <a:bodyPr numCol="1"/>
          <a:lstStyle/>
          <a:p>
            <a:r>
              <a:rPr lang="en-US" dirty="0"/>
              <a:t>Click to edit Master title style</a:t>
            </a:r>
            <a:endParaRPr lang="en-GB" altLang="en-GB" dirty="0"/>
          </a:p>
        </p:txBody>
      </p:sp>
      <p:sp>
        <p:nvSpPr>
          <p:cNvPr id="3" name="Content"/>
          <p:cNvSpPr>
            <a:spLocks noGrp="1"/>
          </p:cNvSpPr>
          <p:nvPr>
            <p:ph idx="11"/>
          </p:nvPr>
        </p:nvSpPr>
        <p:spPr>
          <a:xfrm>
            <a:off x="651510" y="1049274"/>
            <a:ext cx="8058150" cy="3696462"/>
          </a:xfrm>
          <a:prstGeom prst="rect">
            <a:avLst/>
          </a:prstGeom>
        </p:spPr>
        <p:txBody>
          <a:bodyPr numCol="1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alt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512810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39754867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heme" Target="../theme/theme2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10" Type="http://schemas.openxmlformats.org/officeDocument/2006/relationships/image" Target="../media/image4.png"/><Relationship Id="rId4" Type="http://schemas.openxmlformats.org/officeDocument/2006/relationships/vmlDrawing" Target="../drawings/vmlDrawing1.vml"/><Relationship Id="rId9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713225" y="547956"/>
            <a:ext cx="77175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713225" y="1152475"/>
            <a:ext cx="77175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DM Sans"/>
              <a:buChar char="●"/>
              <a:defRPr sz="120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defRPr>
            </a:lvl1pPr>
            <a:lvl2pPr marL="914400" lvl="1" indent="-304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DM Sans"/>
              <a:buChar char="○"/>
              <a:defRPr sz="120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defRPr>
            </a:lvl2pPr>
            <a:lvl3pPr marL="1371600" lvl="2" indent="-304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DM Sans"/>
              <a:buChar char="■"/>
              <a:defRPr sz="120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defRPr>
            </a:lvl3pPr>
            <a:lvl4pPr marL="1828800" lvl="3" indent="-304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DM Sans"/>
              <a:buChar char="●"/>
              <a:defRPr sz="120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defRPr>
            </a:lvl4pPr>
            <a:lvl5pPr marL="2286000" lvl="4" indent="-304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DM Sans"/>
              <a:buChar char="○"/>
              <a:defRPr sz="120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defRPr>
            </a:lvl5pPr>
            <a:lvl6pPr marL="2743200" lvl="5" indent="-304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DM Sans"/>
              <a:buChar char="■"/>
              <a:defRPr sz="120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defRPr>
            </a:lvl6pPr>
            <a:lvl7pPr marL="3200400" lvl="6" indent="-304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DM Sans"/>
              <a:buChar char="●"/>
              <a:defRPr sz="120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defRPr>
            </a:lvl7pPr>
            <a:lvl8pPr marL="3657600" lvl="7" indent="-304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DM Sans"/>
              <a:buChar char="○"/>
              <a:defRPr sz="120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defRPr>
            </a:lvl8pPr>
            <a:lvl9pPr marL="4114800" lvl="8" indent="-304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DM Sans"/>
              <a:buChar char="■"/>
              <a:defRPr sz="120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50" r:id="rId2"/>
    <p:sldLayoutId id="2147483654" r:id="rId3"/>
    <p:sldLayoutId id="2147483655" r:id="rId4"/>
    <p:sldLayoutId id="2147483656" r:id="rId5"/>
    <p:sldLayoutId id="2147483668" r:id="rId6"/>
    <p:sldLayoutId id="2147483669" r:id="rId7"/>
    <p:sldLayoutId id="2147483673" r:id="rId8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DD2037D5-9F9A-4CC9-98B0-68BDD36B02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2299948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8" imgW="451" imgH="450" progId="TCLayout.ActiveDocument.1">
                  <p:embed/>
                </p:oleObj>
              </mc:Choice>
              <mc:Fallback>
                <p:oleObj name="think-cell Slide" r:id="rId8" imgW="451" imgH="45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DD2037D5-9F9A-4CC9-98B0-68BDD36B02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6E612F5A-FB47-481F-9DE2-4A75D564380A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kern="0" baseline="0" dirty="0" err="1">
              <a:solidFill>
                <a:schemeClr val="tx1"/>
              </a:solidFill>
              <a:latin typeface="Segoe UI Black" panose="020B0A02040204020203" pitchFamily="34" charset="0"/>
              <a:ea typeface="+mj-ea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651510" y="288036"/>
            <a:ext cx="8058150" cy="649986"/>
          </a:xfrm>
          <a:prstGeom prst="rect">
            <a:avLst/>
          </a:prstGeom>
        </p:spPr>
        <p:txBody>
          <a:bodyPr vert="horz" lIns="0" tIns="0" rIns="0" bIns="0" numCol="1" rtlCol="0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BodyText"/>
          <p:cNvSpPr>
            <a:spLocks noGrp="1"/>
          </p:cNvSpPr>
          <p:nvPr>
            <p:ph type="body" idx="1"/>
          </p:nvPr>
        </p:nvSpPr>
        <p:spPr>
          <a:xfrm>
            <a:off x="651510" y="1049274"/>
            <a:ext cx="8058150" cy="3696462"/>
          </a:xfrm>
          <a:prstGeom prst="rect">
            <a:avLst/>
          </a:prstGeom>
        </p:spPr>
        <p:txBody>
          <a:bodyPr vert="horz" lIns="0" tIns="0" rIns="0" bIns="0" numCol="1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" hidden="1"/>
          <p:cNvSpPr>
            <a:spLocks noGrp="1"/>
          </p:cNvSpPr>
          <p:nvPr>
            <p:ph type="dt" sz="half" idx="2"/>
          </p:nvPr>
        </p:nvSpPr>
        <p:spPr>
          <a:xfrm>
            <a:off x="342900" y="5148263"/>
            <a:ext cx="235744" cy="73819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l">
              <a:defRPr sz="225">
                <a:solidFill>
                  <a:schemeClr val="accent4"/>
                </a:solidFill>
              </a:defRPr>
            </a:lvl1pPr>
          </a:lstStyle>
          <a:p>
            <a:fld id="{7ECE2914-4E17-487A-A4E5-C87617449E51}" type="datetimeFigureOut">
              <a:rPr lang="en-US" smtClean="0"/>
              <a:pPr/>
              <a:t>12/7/2023</a:t>
            </a:fld>
            <a:endParaRPr lang="en-US" dirty="0"/>
          </a:p>
        </p:txBody>
      </p:sp>
      <p:sp>
        <p:nvSpPr>
          <p:cNvPr id="5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578644" y="5148263"/>
            <a:ext cx="400050" cy="73819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ctr">
              <a:defRPr sz="225">
                <a:solidFill>
                  <a:schemeClr val="accent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" hidden="1"/>
          <p:cNvSpPr>
            <a:spLocks noGrp="1"/>
          </p:cNvSpPr>
          <p:nvPr>
            <p:ph type="sldNum" sz="quarter" idx="4"/>
          </p:nvPr>
        </p:nvSpPr>
        <p:spPr>
          <a:xfrm>
            <a:off x="978694" y="5148263"/>
            <a:ext cx="114300" cy="73819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r">
              <a:defRPr sz="225">
                <a:solidFill>
                  <a:schemeClr val="accent4"/>
                </a:solidFill>
              </a:defRPr>
            </a:lvl1pPr>
          </a:lstStyle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517BCDC7-33E6-4E0D-8470-BD0036821924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8257342" y="288036"/>
            <a:ext cx="533400" cy="462280"/>
          </a:xfrm>
          <a:prstGeom prst="rect">
            <a:avLst/>
          </a:prstGeom>
        </p:spPr>
      </p:pic>
    </p:spTree>
    <p:custDataLst>
      <p:tags r:id="rId5"/>
    </p:custDataLst>
    <p:extLst>
      <p:ext uri="{BB962C8B-B14F-4D97-AF65-F5344CB8AC3E}">
        <p14:creationId xmlns:p14="http://schemas.microsoft.com/office/powerpoint/2010/main" val="356171350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5" r:id="rId1"/>
    <p:sldLayoutId id="2147483676" r:id="rId2"/>
  </p:sldLayoutIdLst>
  <p:txStyles>
    <p:titleStyle>
      <a:lvl1pPr algn="l" defTabSz="685800" rtl="0" eaLnBrk="1" latinLnBrk="0" hangingPunct="1">
        <a:lnSpc>
          <a:spcPct val="88000"/>
        </a:lnSpc>
        <a:spcBef>
          <a:spcPct val="0"/>
        </a:spcBef>
        <a:buNone/>
        <a:defRPr sz="2400" ker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spcBef>
          <a:spcPts val="525"/>
        </a:spcBef>
        <a:buFont typeface="Arial" panose="020B0604020202020204" pitchFamily="34" charset="0"/>
        <a:buChar char="​"/>
        <a:defRPr sz="1800" kern="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685800" rtl="0" eaLnBrk="1" latinLnBrk="0" hangingPunct="1">
        <a:spcBef>
          <a:spcPts val="525"/>
        </a:spcBef>
        <a:buFont typeface="Arial" panose="020B0604020202020204" pitchFamily="34" charset="0"/>
        <a:buChar char="​"/>
        <a:defRPr sz="1800" kern="0">
          <a:solidFill>
            <a:schemeClr val="tx1"/>
          </a:solidFill>
          <a:latin typeface="+mn-lt"/>
          <a:ea typeface="+mn-ea"/>
          <a:cs typeface="+mn-cs"/>
        </a:defRPr>
      </a:lvl2pPr>
      <a:lvl3pPr marL="189000" indent="-189000" algn="l" defTabSz="685800" rtl="0" eaLnBrk="1" latinLnBrk="0" hangingPunct="1">
        <a:spcBef>
          <a:spcPts val="525"/>
        </a:spcBef>
        <a:buFont typeface="Arial" panose="020B0604020202020204" pitchFamily="34" charset="0"/>
        <a:buChar char="•"/>
        <a:defRPr sz="1800" kern="0">
          <a:solidFill>
            <a:schemeClr val="tx1"/>
          </a:solidFill>
          <a:latin typeface="+mn-lt"/>
          <a:ea typeface="+mn-ea"/>
          <a:cs typeface="+mn-cs"/>
        </a:defRPr>
      </a:lvl3pPr>
      <a:lvl4pPr marL="378000" indent="-189000" algn="l" defTabSz="685800" rtl="0" eaLnBrk="1" latinLnBrk="0" hangingPunct="1">
        <a:spcBef>
          <a:spcPts val="225"/>
        </a:spcBef>
        <a:buFont typeface="Arial" panose="020B0604020202020204" pitchFamily="34" charset="0"/>
        <a:buChar char="–"/>
        <a:defRPr sz="1800" kern="0">
          <a:solidFill>
            <a:schemeClr val="tx1"/>
          </a:solidFill>
          <a:latin typeface="+mn-lt"/>
          <a:ea typeface="+mn-ea"/>
          <a:cs typeface="+mn-cs"/>
        </a:defRPr>
      </a:lvl4pPr>
      <a:lvl5pPr marL="567000" indent="-189000" algn="l" defTabSz="685800" rtl="0" eaLnBrk="1" latinLnBrk="0" hangingPunct="1">
        <a:spcBef>
          <a:spcPts val="225"/>
        </a:spcBef>
        <a:buFont typeface="Arial" panose="020B0604020202020204" pitchFamily="34" charset="0"/>
        <a:buChar char="-"/>
        <a:defRPr sz="1800" kern="0">
          <a:solidFill>
            <a:schemeClr val="tx1"/>
          </a:solidFill>
          <a:latin typeface="+mn-lt"/>
          <a:ea typeface="+mn-ea"/>
          <a:cs typeface="+mn-cs"/>
        </a:defRPr>
      </a:lvl5pPr>
      <a:lvl6pPr marL="756000" indent="-189000" algn="l" defTabSz="685800" rtl="0" eaLnBrk="1" latinLnBrk="0" hangingPunct="1">
        <a:spcBef>
          <a:spcPts val="225"/>
        </a:spcBef>
        <a:buFont typeface="Arial" panose="020B0604020202020204" pitchFamily="34" charset="0"/>
        <a:buChar char="-"/>
        <a:defRPr sz="1800" kern="0">
          <a:solidFill>
            <a:schemeClr val="tx1"/>
          </a:solidFill>
          <a:latin typeface="+mn-lt"/>
          <a:ea typeface="+mn-ea"/>
          <a:cs typeface="+mn-cs"/>
        </a:defRPr>
      </a:lvl6pPr>
      <a:lvl7pPr marL="945000" indent="-189000" algn="l" defTabSz="685800" rtl="0" eaLnBrk="1" latinLnBrk="0" hangingPunct="1">
        <a:spcBef>
          <a:spcPts val="225"/>
        </a:spcBef>
        <a:buFont typeface="Arial" panose="020B0604020202020204" pitchFamily="34" charset="0"/>
        <a:buChar char="-"/>
        <a:defRPr sz="1800" kern="0">
          <a:solidFill>
            <a:schemeClr val="tx1"/>
          </a:solidFill>
          <a:latin typeface="+mn-lt"/>
          <a:ea typeface="+mn-ea"/>
          <a:cs typeface="+mn-cs"/>
        </a:defRPr>
      </a:lvl7pPr>
      <a:lvl8pPr marL="1134000" indent="-189000" algn="l" defTabSz="685800" rtl="0" eaLnBrk="1" latinLnBrk="0" hangingPunct="1">
        <a:spcBef>
          <a:spcPts val="225"/>
        </a:spcBef>
        <a:buFont typeface="Arial" panose="020B0604020202020204" pitchFamily="34" charset="0"/>
        <a:buChar char="-"/>
        <a:defRPr sz="1800" kern="0">
          <a:solidFill>
            <a:schemeClr val="tx1"/>
          </a:solidFill>
          <a:latin typeface="+mn-lt"/>
          <a:ea typeface="+mn-ea"/>
          <a:cs typeface="+mn-cs"/>
        </a:defRPr>
      </a:lvl8pPr>
      <a:lvl9pPr marL="1323000" indent="-189000" algn="l" defTabSz="685800" rtl="0" eaLnBrk="1" latinLnBrk="0" hangingPunct="1">
        <a:spcBef>
          <a:spcPts val="225"/>
        </a:spcBef>
        <a:buFont typeface="Arial" panose="020B0604020202020204" pitchFamily="34" charset="0"/>
        <a:buChar char="-"/>
        <a:defRPr sz="1800" ker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500" kern="0">
          <a:solidFill>
            <a:schemeClr val="tx1"/>
          </a:solidFill>
          <a:latin typeface="+mn-lt"/>
          <a:ea typeface="+mn-ea"/>
          <a:cs typeface="+mn-cs"/>
        </a:defRPr>
      </a:lvl1pPr>
      <a:lvl2pPr marL="189000" algn="l" defTabSz="685800" rtl="0" eaLnBrk="1" latinLnBrk="0" hangingPunct="1">
        <a:defRPr sz="1500" kern="0">
          <a:solidFill>
            <a:schemeClr val="tx1"/>
          </a:solidFill>
          <a:latin typeface="+mn-lt"/>
          <a:ea typeface="+mn-ea"/>
          <a:cs typeface="+mn-cs"/>
        </a:defRPr>
      </a:lvl2pPr>
      <a:lvl3pPr marL="378000" algn="l" defTabSz="685800" rtl="0" eaLnBrk="1" latinLnBrk="0" hangingPunct="1">
        <a:defRPr sz="1500" kern="0">
          <a:solidFill>
            <a:schemeClr val="tx1"/>
          </a:solidFill>
          <a:latin typeface="+mn-lt"/>
          <a:ea typeface="+mn-ea"/>
          <a:cs typeface="+mn-cs"/>
        </a:defRPr>
      </a:lvl3pPr>
      <a:lvl4pPr marL="567000" algn="l" defTabSz="685800" rtl="0" eaLnBrk="1" latinLnBrk="0" hangingPunct="1">
        <a:defRPr sz="150" kern="0">
          <a:solidFill>
            <a:schemeClr val="tx1"/>
          </a:solidFill>
          <a:latin typeface="+mn-lt"/>
          <a:ea typeface="+mn-ea"/>
          <a:cs typeface="+mn-cs"/>
        </a:defRPr>
      </a:lvl4pPr>
      <a:lvl5pPr marL="756000" algn="l" defTabSz="685800" rtl="0" eaLnBrk="1" latinLnBrk="0" hangingPunct="1">
        <a:defRPr sz="1500" kern="0">
          <a:solidFill>
            <a:schemeClr val="tx1"/>
          </a:solidFill>
          <a:latin typeface="+mn-lt"/>
          <a:ea typeface="+mn-ea"/>
          <a:cs typeface="+mn-cs"/>
        </a:defRPr>
      </a:lvl5pPr>
      <a:lvl6pPr marL="945000" algn="l" defTabSz="685800" rtl="0" eaLnBrk="1" latinLnBrk="0" hangingPunct="1">
        <a:defRPr sz="1500" kern="0">
          <a:solidFill>
            <a:schemeClr val="tx1"/>
          </a:solidFill>
          <a:latin typeface="+mn-lt"/>
          <a:ea typeface="+mn-ea"/>
          <a:cs typeface="+mn-cs"/>
        </a:defRPr>
      </a:lvl6pPr>
      <a:lvl7pPr marL="1134000" algn="l" defTabSz="685800" rtl="0" eaLnBrk="1" latinLnBrk="0" hangingPunct="1">
        <a:defRPr sz="1500" kern="0">
          <a:solidFill>
            <a:schemeClr val="tx1"/>
          </a:solidFill>
          <a:latin typeface="+mn-lt"/>
          <a:ea typeface="+mn-ea"/>
          <a:cs typeface="+mn-cs"/>
        </a:defRPr>
      </a:lvl7pPr>
      <a:lvl8pPr marL="1323000" algn="l" defTabSz="685800" rtl="0" eaLnBrk="1" latinLnBrk="0" hangingPunct="1">
        <a:defRPr sz="1500" kern="0">
          <a:solidFill>
            <a:schemeClr val="tx1"/>
          </a:solidFill>
          <a:latin typeface="+mn-lt"/>
          <a:ea typeface="+mn-ea"/>
          <a:cs typeface="+mn-cs"/>
        </a:defRPr>
      </a:lvl8pPr>
      <a:lvl9pPr marL="1512000" algn="l" defTabSz="685800" rtl="0" eaLnBrk="1" latinLnBrk="0" hangingPunct="1">
        <a:defRPr sz="1500" kern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pos="544">
          <p15:clr>
            <a:srgbClr val="C35EA4"/>
          </p15:clr>
        </p15:guide>
        <p15:guide id="2" pos="7328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3.xml"/><Relationship Id="rId7" Type="http://schemas.openxmlformats.org/officeDocument/2006/relationships/image" Target="../media/image6.png"/><Relationship Id="rId2" Type="http://schemas.openxmlformats.org/officeDocument/2006/relationships/tags" Target="../tags/tag2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5.xml"/><Relationship Id="rId7" Type="http://schemas.openxmlformats.org/officeDocument/2006/relationships/image" Target="../media/image6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7.xml"/><Relationship Id="rId7" Type="http://schemas.openxmlformats.org/officeDocument/2006/relationships/hyperlink" Target="https://crontab.guru/examples.html" TargetMode="External"/><Relationship Id="rId2" Type="http://schemas.openxmlformats.org/officeDocument/2006/relationships/tags" Target="../tags/tag2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5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9.xml"/><Relationship Id="rId7" Type="http://schemas.openxmlformats.org/officeDocument/2006/relationships/image" Target="../media/image6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1.xml"/><Relationship Id="rId7" Type="http://schemas.openxmlformats.org/officeDocument/2006/relationships/image" Target="../media/image6.png"/><Relationship Id="rId2" Type="http://schemas.openxmlformats.org/officeDocument/2006/relationships/tags" Target="../tags/tag3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3.xml"/><Relationship Id="rId7" Type="http://schemas.openxmlformats.org/officeDocument/2006/relationships/image" Target="../media/image6.png"/><Relationship Id="rId2" Type="http://schemas.openxmlformats.org/officeDocument/2006/relationships/tags" Target="../tags/tag3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5.xml"/><Relationship Id="rId7" Type="http://schemas.openxmlformats.org/officeDocument/2006/relationships/image" Target="../media/image6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7.xml"/><Relationship Id="rId7" Type="http://schemas.openxmlformats.org/officeDocument/2006/relationships/image" Target="../media/image6.png"/><Relationship Id="rId2" Type="http://schemas.openxmlformats.org/officeDocument/2006/relationships/tags" Target="../tags/tag3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9.xml"/><Relationship Id="rId7" Type="http://schemas.openxmlformats.org/officeDocument/2006/relationships/image" Target="../media/image6.png"/><Relationship Id="rId2" Type="http://schemas.openxmlformats.org/officeDocument/2006/relationships/tags" Target="../tags/tag3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41.xml"/><Relationship Id="rId7" Type="http://schemas.openxmlformats.org/officeDocument/2006/relationships/image" Target="../media/image6.png"/><Relationship Id="rId2" Type="http://schemas.openxmlformats.org/officeDocument/2006/relationships/tags" Target="../tags/tag4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43.xml"/><Relationship Id="rId7" Type="http://schemas.openxmlformats.org/officeDocument/2006/relationships/image" Target="../media/image6.png"/><Relationship Id="rId2" Type="http://schemas.openxmlformats.org/officeDocument/2006/relationships/tags" Target="../tags/tag4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45.xml"/><Relationship Id="rId7" Type="http://schemas.openxmlformats.org/officeDocument/2006/relationships/image" Target="../media/image6.png"/><Relationship Id="rId2" Type="http://schemas.openxmlformats.org/officeDocument/2006/relationships/tags" Target="../tags/tag44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47.xml"/><Relationship Id="rId7" Type="http://schemas.openxmlformats.org/officeDocument/2006/relationships/image" Target="../media/image6.png"/><Relationship Id="rId2" Type="http://schemas.openxmlformats.org/officeDocument/2006/relationships/tags" Target="../tags/tag46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49.xml"/><Relationship Id="rId7" Type="http://schemas.openxmlformats.org/officeDocument/2006/relationships/image" Target="../media/image6.png"/><Relationship Id="rId2" Type="http://schemas.openxmlformats.org/officeDocument/2006/relationships/tags" Target="../tags/tag48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7.emf"/><Relationship Id="rId11" Type="http://schemas.openxmlformats.org/officeDocument/2006/relationships/hyperlink" Target="mailto:root@srv.world" TargetMode="External"/><Relationship Id="rId5" Type="http://schemas.openxmlformats.org/officeDocument/2006/relationships/oleObject" Target="../embeddings/oleObject22.bin"/><Relationship Id="rId10" Type="http://schemas.openxmlformats.org/officeDocument/2006/relationships/hyperlink" Target="mailto:cent@dlp.world" TargetMode="External"/><Relationship Id="rId4" Type="http://schemas.openxmlformats.org/officeDocument/2006/relationships/slideLayout" Target="../slideLayouts/slideLayout9.xml"/><Relationship Id="rId9" Type="http://schemas.openxmlformats.org/officeDocument/2006/relationships/hyperlink" Target="mailto:root@dlp.srv.world" TargetMode="Externa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51.xml"/><Relationship Id="rId7" Type="http://schemas.openxmlformats.org/officeDocument/2006/relationships/image" Target="../media/image6.png"/><Relationship Id="rId2" Type="http://schemas.openxmlformats.org/officeDocument/2006/relationships/tags" Target="../tags/tag5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53.xml"/><Relationship Id="rId7" Type="http://schemas.openxmlformats.org/officeDocument/2006/relationships/image" Target="../media/image6.png"/><Relationship Id="rId2" Type="http://schemas.openxmlformats.org/officeDocument/2006/relationships/tags" Target="../tags/tag52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55.xml"/><Relationship Id="rId7" Type="http://schemas.openxmlformats.org/officeDocument/2006/relationships/image" Target="../media/image6.png"/><Relationship Id="rId2" Type="http://schemas.openxmlformats.org/officeDocument/2006/relationships/tags" Target="../tags/tag5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5.bin"/><Relationship Id="rId4" Type="http://schemas.openxmlformats.org/officeDocument/2006/relationships/slideLayout" Target="../slideLayouts/slideLayout9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57.xml"/><Relationship Id="rId7" Type="http://schemas.openxmlformats.org/officeDocument/2006/relationships/image" Target="../media/image6.png"/><Relationship Id="rId2" Type="http://schemas.openxmlformats.org/officeDocument/2006/relationships/tags" Target="../tags/tag5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6.bin"/><Relationship Id="rId4" Type="http://schemas.openxmlformats.org/officeDocument/2006/relationships/slideLayout" Target="../slideLayouts/slideLayout9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59.xml"/><Relationship Id="rId7" Type="http://schemas.openxmlformats.org/officeDocument/2006/relationships/image" Target="../media/image6.png"/><Relationship Id="rId2" Type="http://schemas.openxmlformats.org/officeDocument/2006/relationships/tags" Target="../tags/tag5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7.bin"/><Relationship Id="rId4" Type="http://schemas.openxmlformats.org/officeDocument/2006/relationships/slideLayout" Target="../slideLayouts/slideLayout9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61.xml"/><Relationship Id="rId7" Type="http://schemas.openxmlformats.org/officeDocument/2006/relationships/image" Target="../media/image6.png"/><Relationship Id="rId2" Type="http://schemas.openxmlformats.org/officeDocument/2006/relationships/tags" Target="../tags/tag60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18" Type="http://schemas.openxmlformats.org/officeDocument/2006/relationships/image" Target="../media/image10.png"/><Relationship Id="rId3" Type="http://schemas.openxmlformats.org/officeDocument/2006/relationships/tags" Target="../tags/tag8.xml"/><Relationship Id="rId21" Type="http://schemas.openxmlformats.org/officeDocument/2006/relationships/image" Target="../media/image11.png"/><Relationship Id="rId7" Type="http://schemas.openxmlformats.org/officeDocument/2006/relationships/oleObject" Target="../embeddings/oleObject2.bin"/><Relationship Id="rId17" Type="http://schemas.openxmlformats.org/officeDocument/2006/relationships/slide" Target="slide13.xml"/><Relationship Id="rId2" Type="http://schemas.openxmlformats.org/officeDocument/2006/relationships/tags" Target="../tags/tag7.xml"/><Relationship Id="rId16" Type="http://schemas.openxmlformats.org/officeDocument/2006/relationships/image" Target="../media/image90.png"/><Relationship Id="rId20" Type="http://schemas.openxmlformats.org/officeDocument/2006/relationships/slide" Target="slide32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3.xml"/><Relationship Id="rId11" Type="http://schemas.openxmlformats.org/officeDocument/2006/relationships/image" Target="../media/image9.png"/><Relationship Id="rId5" Type="http://schemas.openxmlformats.org/officeDocument/2006/relationships/slideLayout" Target="../slideLayouts/slideLayout8.xml"/><Relationship Id="rId23" Type="http://schemas.openxmlformats.org/officeDocument/2006/relationships/image" Target="../media/image5.png"/><Relationship Id="rId10" Type="http://schemas.openxmlformats.org/officeDocument/2006/relationships/slide" Target="slide4.xml"/><Relationship Id="rId19" Type="http://schemas.openxmlformats.org/officeDocument/2006/relationships/image" Target="../media/image100.png"/><Relationship Id="rId4" Type="http://schemas.openxmlformats.org/officeDocument/2006/relationships/tags" Target="../tags/tag9.xml"/><Relationship Id="rId9" Type="http://schemas.openxmlformats.org/officeDocument/2006/relationships/image" Target="../media/image8.png"/><Relationship Id="rId22" Type="http://schemas.openxmlformats.org/officeDocument/2006/relationships/image" Target="../media/image6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63.xml"/><Relationship Id="rId7" Type="http://schemas.openxmlformats.org/officeDocument/2006/relationships/image" Target="../media/image6.png"/><Relationship Id="rId2" Type="http://schemas.openxmlformats.org/officeDocument/2006/relationships/tags" Target="../tags/tag62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9.bin"/><Relationship Id="rId4" Type="http://schemas.openxmlformats.org/officeDocument/2006/relationships/slideLayout" Target="../slideLayouts/slideLayout9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65.xml"/><Relationship Id="rId7" Type="http://schemas.openxmlformats.org/officeDocument/2006/relationships/image" Target="../media/image6.png"/><Relationship Id="rId2" Type="http://schemas.openxmlformats.org/officeDocument/2006/relationships/tags" Target="../tags/tag64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7.emf"/><Relationship Id="rId11" Type="http://schemas.openxmlformats.org/officeDocument/2006/relationships/hyperlink" Target="mailto:root@srv.world" TargetMode="External"/><Relationship Id="rId5" Type="http://schemas.openxmlformats.org/officeDocument/2006/relationships/oleObject" Target="../embeddings/oleObject30.bin"/><Relationship Id="rId10" Type="http://schemas.openxmlformats.org/officeDocument/2006/relationships/hyperlink" Target="mailto:cent@dlp.world" TargetMode="External"/><Relationship Id="rId4" Type="http://schemas.openxmlformats.org/officeDocument/2006/relationships/slideLayout" Target="../slideLayouts/slideLayout9.xml"/><Relationship Id="rId9" Type="http://schemas.openxmlformats.org/officeDocument/2006/relationships/hyperlink" Target="mailto:root@dlp.srv.world" TargetMode="Externa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67.xml"/><Relationship Id="rId7" Type="http://schemas.openxmlformats.org/officeDocument/2006/relationships/image" Target="../media/image6.png"/><Relationship Id="rId2" Type="http://schemas.openxmlformats.org/officeDocument/2006/relationships/tags" Target="../tags/tag66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1.bin"/><Relationship Id="rId4" Type="http://schemas.openxmlformats.org/officeDocument/2006/relationships/slideLayout" Target="../slideLayouts/slideLayout9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69.xml"/><Relationship Id="rId7" Type="http://schemas.openxmlformats.org/officeDocument/2006/relationships/image" Target="../media/image6.png"/><Relationship Id="rId2" Type="http://schemas.openxmlformats.org/officeDocument/2006/relationships/tags" Target="../tags/tag68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2.bin"/><Relationship Id="rId4" Type="http://schemas.openxmlformats.org/officeDocument/2006/relationships/slideLayout" Target="../slideLayouts/slideLayout9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71.xml"/><Relationship Id="rId7" Type="http://schemas.openxmlformats.org/officeDocument/2006/relationships/image" Target="../media/image6.png"/><Relationship Id="rId2" Type="http://schemas.openxmlformats.org/officeDocument/2006/relationships/tags" Target="../tags/tag70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3.bin"/><Relationship Id="rId4" Type="http://schemas.openxmlformats.org/officeDocument/2006/relationships/slideLayout" Target="../slideLayouts/slideLayout9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73.xml"/><Relationship Id="rId7" Type="http://schemas.openxmlformats.org/officeDocument/2006/relationships/image" Target="../media/image6.png"/><Relationship Id="rId2" Type="http://schemas.openxmlformats.org/officeDocument/2006/relationships/tags" Target="../tags/tag72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4.bin"/><Relationship Id="rId4" Type="http://schemas.openxmlformats.org/officeDocument/2006/relationships/slideLayout" Target="../slideLayouts/slideLayout9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75.xml"/><Relationship Id="rId7" Type="http://schemas.openxmlformats.org/officeDocument/2006/relationships/image" Target="../media/image6.png"/><Relationship Id="rId2" Type="http://schemas.openxmlformats.org/officeDocument/2006/relationships/tags" Target="../tags/tag74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5.bin"/><Relationship Id="rId4" Type="http://schemas.openxmlformats.org/officeDocument/2006/relationships/slideLayout" Target="../slideLayouts/slideLayout9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77.xml"/><Relationship Id="rId7" Type="http://schemas.openxmlformats.org/officeDocument/2006/relationships/image" Target="../media/image6.png"/><Relationship Id="rId2" Type="http://schemas.openxmlformats.org/officeDocument/2006/relationships/tags" Target="../tags/tag76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6.bin"/><Relationship Id="rId4" Type="http://schemas.openxmlformats.org/officeDocument/2006/relationships/slideLayout" Target="../slideLayouts/slideLayout9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79.xml"/><Relationship Id="rId7" Type="http://schemas.openxmlformats.org/officeDocument/2006/relationships/image" Target="../media/image6.png"/><Relationship Id="rId2" Type="http://schemas.openxmlformats.org/officeDocument/2006/relationships/tags" Target="../tags/tag7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7.bin"/><Relationship Id="rId4" Type="http://schemas.openxmlformats.org/officeDocument/2006/relationships/slideLayout" Target="../slideLayouts/slideLayout9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81.xml"/><Relationship Id="rId7" Type="http://schemas.openxmlformats.org/officeDocument/2006/relationships/image" Target="../media/image6.png"/><Relationship Id="rId2" Type="http://schemas.openxmlformats.org/officeDocument/2006/relationships/tags" Target="../tags/tag80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8.bin"/><Relationship Id="rId4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1.xml"/><Relationship Id="rId7" Type="http://schemas.openxmlformats.org/officeDocument/2006/relationships/image" Target="../media/image6.png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9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83.xml"/><Relationship Id="rId7" Type="http://schemas.openxmlformats.org/officeDocument/2006/relationships/image" Target="../media/image6.png"/><Relationship Id="rId2" Type="http://schemas.openxmlformats.org/officeDocument/2006/relationships/tags" Target="../tags/tag82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9.bin"/><Relationship Id="rId4" Type="http://schemas.openxmlformats.org/officeDocument/2006/relationships/slideLayout" Target="../slideLayouts/slideLayout9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85.xml"/><Relationship Id="rId7" Type="http://schemas.openxmlformats.org/officeDocument/2006/relationships/image" Target="../media/image6.png"/><Relationship Id="rId2" Type="http://schemas.openxmlformats.org/officeDocument/2006/relationships/tags" Target="../tags/tag84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0.bin"/><Relationship Id="rId4" Type="http://schemas.openxmlformats.org/officeDocument/2006/relationships/slideLayout" Target="../slideLayouts/slideLayout9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87.xml"/><Relationship Id="rId7" Type="http://schemas.openxmlformats.org/officeDocument/2006/relationships/image" Target="../media/image6.png"/><Relationship Id="rId2" Type="http://schemas.openxmlformats.org/officeDocument/2006/relationships/tags" Target="../tags/tag86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1.bin"/><Relationship Id="rId4" Type="http://schemas.openxmlformats.org/officeDocument/2006/relationships/slideLayout" Target="../slideLayouts/slideLayout9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89.xml"/><Relationship Id="rId7" Type="http://schemas.openxmlformats.org/officeDocument/2006/relationships/image" Target="../media/image6.png"/><Relationship Id="rId2" Type="http://schemas.openxmlformats.org/officeDocument/2006/relationships/tags" Target="../tags/tag88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2.bin"/><Relationship Id="rId4" Type="http://schemas.openxmlformats.org/officeDocument/2006/relationships/slideLayout" Target="../slideLayouts/slideLayout9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91.xml"/><Relationship Id="rId7" Type="http://schemas.openxmlformats.org/officeDocument/2006/relationships/image" Target="../media/image6.png"/><Relationship Id="rId2" Type="http://schemas.openxmlformats.org/officeDocument/2006/relationships/tags" Target="../tags/tag90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3.bin"/><Relationship Id="rId4" Type="http://schemas.openxmlformats.org/officeDocument/2006/relationships/slideLayout" Target="../slideLayouts/slideLayout9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93.xml"/><Relationship Id="rId7" Type="http://schemas.openxmlformats.org/officeDocument/2006/relationships/image" Target="../media/image6.png"/><Relationship Id="rId2" Type="http://schemas.openxmlformats.org/officeDocument/2006/relationships/tags" Target="../tags/tag92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4.bin"/><Relationship Id="rId4" Type="http://schemas.openxmlformats.org/officeDocument/2006/relationships/slideLayout" Target="../slideLayouts/slideLayout9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95.xml"/><Relationship Id="rId7" Type="http://schemas.openxmlformats.org/officeDocument/2006/relationships/image" Target="../media/image6.png"/><Relationship Id="rId2" Type="http://schemas.openxmlformats.org/officeDocument/2006/relationships/tags" Target="../tags/tag94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5.bin"/><Relationship Id="rId4" Type="http://schemas.openxmlformats.org/officeDocument/2006/relationships/slideLayout" Target="../slideLayouts/slideLayout9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97.xml"/><Relationship Id="rId7" Type="http://schemas.openxmlformats.org/officeDocument/2006/relationships/image" Target="../media/image6.png"/><Relationship Id="rId2" Type="http://schemas.openxmlformats.org/officeDocument/2006/relationships/tags" Target="../tags/tag96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6.bin"/><Relationship Id="rId4" Type="http://schemas.openxmlformats.org/officeDocument/2006/relationships/slideLayout" Target="../slideLayouts/slideLayout9.xml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99.xml"/><Relationship Id="rId7" Type="http://schemas.openxmlformats.org/officeDocument/2006/relationships/image" Target="../media/image6.png"/><Relationship Id="rId2" Type="http://schemas.openxmlformats.org/officeDocument/2006/relationships/tags" Target="../tags/tag9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7.bin"/><Relationship Id="rId4" Type="http://schemas.openxmlformats.org/officeDocument/2006/relationships/slideLayout" Target="../slideLayouts/slideLayout9.xm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01.xml"/><Relationship Id="rId7" Type="http://schemas.openxmlformats.org/officeDocument/2006/relationships/image" Target="../media/image6.png"/><Relationship Id="rId2" Type="http://schemas.openxmlformats.org/officeDocument/2006/relationships/tags" Target="../tags/tag100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8.bin"/><Relationship Id="rId4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3.xml"/><Relationship Id="rId7" Type="http://schemas.openxmlformats.org/officeDocument/2006/relationships/image" Target="../media/image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9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03.xml"/><Relationship Id="rId7" Type="http://schemas.openxmlformats.org/officeDocument/2006/relationships/image" Target="../media/image6.png"/><Relationship Id="rId2" Type="http://schemas.openxmlformats.org/officeDocument/2006/relationships/tags" Target="../tags/tag102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9.bin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12.png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05.xml"/><Relationship Id="rId7" Type="http://schemas.openxmlformats.org/officeDocument/2006/relationships/image" Target="../media/image6.png"/><Relationship Id="rId2" Type="http://schemas.openxmlformats.org/officeDocument/2006/relationships/tags" Target="../tags/tag104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0.bin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13.png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07.xml"/><Relationship Id="rId7" Type="http://schemas.openxmlformats.org/officeDocument/2006/relationships/image" Target="../media/image6.png"/><Relationship Id="rId2" Type="http://schemas.openxmlformats.org/officeDocument/2006/relationships/tags" Target="../tags/tag106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1.bin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14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09.xml"/><Relationship Id="rId7" Type="http://schemas.openxmlformats.org/officeDocument/2006/relationships/image" Target="../media/image6.png"/><Relationship Id="rId2" Type="http://schemas.openxmlformats.org/officeDocument/2006/relationships/tags" Target="../tags/tag108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2.bin"/><Relationship Id="rId4" Type="http://schemas.openxmlformats.org/officeDocument/2006/relationships/slideLayout" Target="../slideLayouts/slideLayout9.xml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11.xml"/><Relationship Id="rId7" Type="http://schemas.openxmlformats.org/officeDocument/2006/relationships/image" Target="../media/image6.png"/><Relationship Id="rId2" Type="http://schemas.openxmlformats.org/officeDocument/2006/relationships/tags" Target="../tags/tag110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3.bin"/><Relationship Id="rId4" Type="http://schemas.openxmlformats.org/officeDocument/2006/relationships/slideLayout" Target="../slideLayouts/slideLayout9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13.xml"/><Relationship Id="rId7" Type="http://schemas.openxmlformats.org/officeDocument/2006/relationships/image" Target="../media/image6.png"/><Relationship Id="rId2" Type="http://schemas.openxmlformats.org/officeDocument/2006/relationships/tags" Target="../tags/tag112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4.bin"/><Relationship Id="rId4" Type="http://schemas.openxmlformats.org/officeDocument/2006/relationships/slideLayout" Target="../slideLayouts/slideLayout9.xml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15.xml"/><Relationship Id="rId7" Type="http://schemas.openxmlformats.org/officeDocument/2006/relationships/image" Target="../media/image6.png"/><Relationship Id="rId2" Type="http://schemas.openxmlformats.org/officeDocument/2006/relationships/tags" Target="../tags/tag114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5.bin"/><Relationship Id="rId4" Type="http://schemas.openxmlformats.org/officeDocument/2006/relationships/slideLayout" Target="../slideLayouts/slideLayout9.xml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17.xml"/><Relationship Id="rId7" Type="http://schemas.openxmlformats.org/officeDocument/2006/relationships/image" Target="../media/image6.png"/><Relationship Id="rId2" Type="http://schemas.openxmlformats.org/officeDocument/2006/relationships/tags" Target="../tags/tag116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6.bin"/><Relationship Id="rId4" Type="http://schemas.openxmlformats.org/officeDocument/2006/relationships/slideLayout" Target="../slideLayouts/slideLayout9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5.xml"/><Relationship Id="rId7" Type="http://schemas.openxmlformats.org/officeDocument/2006/relationships/image" Target="../media/image6.png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7.xml"/><Relationship Id="rId7" Type="http://schemas.openxmlformats.org/officeDocument/2006/relationships/image" Target="../media/image6.png"/><Relationship Id="rId2" Type="http://schemas.openxmlformats.org/officeDocument/2006/relationships/tags" Target="../tags/tag1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9.xml"/><Relationship Id="rId7" Type="http://schemas.openxmlformats.org/officeDocument/2006/relationships/image" Target="../media/image6.png"/><Relationship Id="rId2" Type="http://schemas.openxmlformats.org/officeDocument/2006/relationships/tags" Target="../tags/tag1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1.xml"/><Relationship Id="rId7" Type="http://schemas.openxmlformats.org/officeDocument/2006/relationships/image" Target="../media/image6.png"/><Relationship Id="rId2" Type="http://schemas.openxmlformats.org/officeDocument/2006/relationships/tags" Target="../tags/tag2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rrow: Pentagon 1">
            <a:extLst>
              <a:ext uri="{FF2B5EF4-FFF2-40B4-BE49-F238E27FC236}">
                <a16:creationId xmlns:a16="http://schemas.microsoft.com/office/drawing/2014/main" xmlns="" id="{41C4F6B3-5DC7-4D6E-B67C-E0E986B0F741}"/>
              </a:ext>
            </a:extLst>
          </p:cNvPr>
          <p:cNvSpPr/>
          <p:nvPr/>
        </p:nvSpPr>
        <p:spPr>
          <a:xfrm>
            <a:off x="-1" y="1351365"/>
            <a:ext cx="5791201" cy="1428345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204" name="Google Shape;204;p27"/>
          <p:cNvSpPr/>
          <p:nvPr/>
        </p:nvSpPr>
        <p:spPr>
          <a:xfrm>
            <a:off x="-1" y="3740850"/>
            <a:ext cx="9144000" cy="1301100"/>
          </a:xfrm>
          <a:prstGeom prst="rect">
            <a:avLst/>
          </a:prstGeom>
          <a:solidFill>
            <a:srgbClr val="FF560D">
              <a:alpha val="5253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Cabin"/>
              <a:ea typeface="Cabin"/>
              <a:cs typeface="Cabin"/>
              <a:sym typeface="Cabin"/>
            </a:endParaRPr>
          </a:p>
        </p:txBody>
      </p:sp>
      <p:sp>
        <p:nvSpPr>
          <p:cNvPr id="205" name="Google Shape;205;p27"/>
          <p:cNvSpPr txBox="1">
            <a:spLocks noGrp="1"/>
          </p:cNvSpPr>
          <p:nvPr>
            <p:ph type="ctrTitle"/>
          </p:nvPr>
        </p:nvSpPr>
        <p:spPr>
          <a:xfrm>
            <a:off x="571614" y="617509"/>
            <a:ext cx="5400251" cy="2143133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/>
              <a:t>LINUX PRESENTATION </a:t>
            </a:r>
          </a:p>
        </p:txBody>
      </p:sp>
      <p:sp>
        <p:nvSpPr>
          <p:cNvPr id="206" name="Google Shape;206;p27"/>
          <p:cNvSpPr txBox="1">
            <a:spLocks noGrp="1"/>
          </p:cNvSpPr>
          <p:nvPr>
            <p:ph type="subTitle" idx="1"/>
          </p:nvPr>
        </p:nvSpPr>
        <p:spPr>
          <a:xfrm>
            <a:off x="26513" y="3995768"/>
            <a:ext cx="4311600" cy="475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km-KH" sz="1200" b="0" i="0" dirty="0">
                <a:solidFill>
                  <a:schemeClr val="tx1"/>
                </a:solidFill>
                <a:effectLst/>
                <a:latin typeface="Ang DaunKeo" panose="020B0503020102020204" pitchFamily="34" charset="0"/>
                <a:cs typeface="Ang DaunKeo" panose="020B0503020102020204" pitchFamily="34" charset="0"/>
              </a:rPr>
              <a:t>សាកលវិទ្យាល័យភូមិន្ទភ្នំពេញ</a:t>
            </a:r>
          </a:p>
          <a:p>
            <a:r>
              <a:rPr lang="en-US" b="0" i="0" dirty="0">
                <a:solidFill>
                  <a:schemeClr val="tx1"/>
                </a:solidFill>
                <a:effectLst/>
                <a:latin typeface="Georgia" panose="02040502050405020303" pitchFamily="18" charset="0"/>
              </a:rPr>
              <a:t>ROYAL UNIVERSITY OF PHNOM PENH</a:t>
            </a:r>
          </a:p>
        </p:txBody>
      </p:sp>
      <p:sp>
        <p:nvSpPr>
          <p:cNvPr id="8" name="Google Shape;206;p27">
            <a:extLst>
              <a:ext uri="{FF2B5EF4-FFF2-40B4-BE49-F238E27FC236}">
                <a16:creationId xmlns:a16="http://schemas.microsoft.com/office/drawing/2014/main" xmlns="" id="{09F122CE-4D29-4AB7-B2D6-67731BC7FB79}"/>
              </a:ext>
            </a:extLst>
          </p:cNvPr>
          <p:cNvSpPr txBox="1">
            <a:spLocks/>
          </p:cNvSpPr>
          <p:nvPr/>
        </p:nvSpPr>
        <p:spPr>
          <a:xfrm>
            <a:off x="6435221" y="4198046"/>
            <a:ext cx="2682266" cy="47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DM Sans"/>
              <a:buNone/>
              <a:defRPr sz="1400" b="0" i="0" u="none" strike="noStrike" cap="none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defRPr>
            </a:lvl1pPr>
            <a:lvl2pPr marL="914400" marR="0" lvl="1" indent="-304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DM Sans"/>
              <a:buNone/>
              <a:defRPr sz="1800" b="0" i="0" u="none" strike="noStrike" cap="none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defRPr>
            </a:lvl2pPr>
            <a:lvl3pPr marL="1371600" marR="0" lvl="2" indent="-304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DM Sans"/>
              <a:buNone/>
              <a:defRPr sz="1800" b="0" i="0" u="none" strike="noStrike" cap="none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defRPr>
            </a:lvl3pPr>
            <a:lvl4pPr marL="1828800" marR="0" lvl="3" indent="-304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DM Sans"/>
              <a:buNone/>
              <a:defRPr sz="1800" b="0" i="0" u="none" strike="noStrike" cap="none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defRPr>
            </a:lvl4pPr>
            <a:lvl5pPr marL="2286000" marR="0" lvl="4" indent="-304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DM Sans"/>
              <a:buNone/>
              <a:defRPr sz="1800" b="0" i="0" u="none" strike="noStrike" cap="none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defRPr>
            </a:lvl5pPr>
            <a:lvl6pPr marL="2743200" marR="0" lvl="5" indent="-304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DM Sans"/>
              <a:buNone/>
              <a:defRPr sz="1800" b="0" i="0" u="none" strike="noStrike" cap="none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defRPr>
            </a:lvl6pPr>
            <a:lvl7pPr marL="3200400" marR="0" lvl="6" indent="-304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DM Sans"/>
              <a:buNone/>
              <a:defRPr sz="1800" b="0" i="0" u="none" strike="noStrike" cap="none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defRPr>
            </a:lvl7pPr>
            <a:lvl8pPr marL="3657600" marR="0" lvl="7" indent="-304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DM Sans"/>
              <a:buNone/>
              <a:defRPr sz="1800" b="0" i="0" u="none" strike="noStrike" cap="none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defRPr>
            </a:lvl8pPr>
            <a:lvl9pPr marL="4114800" marR="0" lvl="8" indent="-304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DM Sans"/>
              <a:buNone/>
              <a:defRPr sz="1800" b="0" i="0" u="none" strike="noStrike" cap="none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defRPr>
            </a:lvl9pPr>
          </a:lstStyle>
          <a:p>
            <a:r>
              <a:rPr lang="km-KH" sz="12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បង្រៀនដោយលោកគ្រូបណ្ឌិត​ អ៊ុក ឃាន</a:t>
            </a:r>
            <a:endParaRPr lang="en-US" sz="1200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</p:txBody>
      </p:sp>
      <p:sp>
        <p:nvSpPr>
          <p:cNvPr id="9" name="Google Shape;206;p27">
            <a:extLst>
              <a:ext uri="{FF2B5EF4-FFF2-40B4-BE49-F238E27FC236}">
                <a16:creationId xmlns:a16="http://schemas.microsoft.com/office/drawing/2014/main" xmlns="" id="{39F42F0C-12F2-4116-B89B-D1E28448A7BA}"/>
              </a:ext>
            </a:extLst>
          </p:cNvPr>
          <p:cNvSpPr txBox="1">
            <a:spLocks/>
          </p:cNvSpPr>
          <p:nvPr/>
        </p:nvSpPr>
        <p:spPr>
          <a:xfrm>
            <a:off x="7631820" y="4657577"/>
            <a:ext cx="1485667" cy="47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DM Sans"/>
              <a:buNone/>
              <a:defRPr sz="1400" b="0" i="0" u="none" strike="noStrike" cap="none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defRPr>
            </a:lvl1pPr>
            <a:lvl2pPr marL="914400" marR="0" lvl="1" indent="-304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DM Sans"/>
              <a:buNone/>
              <a:defRPr sz="1800" b="0" i="0" u="none" strike="noStrike" cap="none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defRPr>
            </a:lvl2pPr>
            <a:lvl3pPr marL="1371600" marR="0" lvl="2" indent="-304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DM Sans"/>
              <a:buNone/>
              <a:defRPr sz="1800" b="0" i="0" u="none" strike="noStrike" cap="none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defRPr>
            </a:lvl3pPr>
            <a:lvl4pPr marL="1828800" marR="0" lvl="3" indent="-304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DM Sans"/>
              <a:buNone/>
              <a:defRPr sz="1800" b="0" i="0" u="none" strike="noStrike" cap="none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defRPr>
            </a:lvl4pPr>
            <a:lvl5pPr marL="2286000" marR="0" lvl="4" indent="-304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DM Sans"/>
              <a:buNone/>
              <a:defRPr sz="1800" b="0" i="0" u="none" strike="noStrike" cap="none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defRPr>
            </a:lvl5pPr>
            <a:lvl6pPr marL="2743200" marR="0" lvl="5" indent="-304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DM Sans"/>
              <a:buNone/>
              <a:defRPr sz="1800" b="0" i="0" u="none" strike="noStrike" cap="none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defRPr>
            </a:lvl6pPr>
            <a:lvl7pPr marL="3200400" marR="0" lvl="6" indent="-304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DM Sans"/>
              <a:buNone/>
              <a:defRPr sz="1800" b="0" i="0" u="none" strike="noStrike" cap="none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defRPr>
            </a:lvl7pPr>
            <a:lvl8pPr marL="3657600" marR="0" lvl="7" indent="-304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DM Sans"/>
              <a:buNone/>
              <a:defRPr sz="1800" b="0" i="0" u="none" strike="noStrike" cap="none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defRPr>
            </a:lvl8pPr>
            <a:lvl9pPr marL="4114800" marR="0" lvl="8" indent="-304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DM Sans"/>
              <a:buNone/>
              <a:defRPr sz="1800" b="0" i="0" u="none" strike="noStrike" cap="none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defRPr>
            </a:lvl9pPr>
          </a:lstStyle>
          <a:p>
            <a:pPr algn="ctr"/>
            <a:r>
              <a:rPr lang="en-US" sz="1200" dirty="0">
                <a:solidFill>
                  <a:schemeClr val="tx1"/>
                </a:solidFill>
                <a:latin typeface="AKbalthom SuperheroKH" panose="02000500000000000000" pitchFamily="2" charset="0"/>
                <a:cs typeface="AKbalthom SuperheroKH" panose="02000500000000000000" pitchFamily="2" charset="0"/>
              </a:rPr>
              <a:t>GROUP 7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024E887F-3502-4ACC-A1D7-8602D1949345}"/>
              </a:ext>
            </a:extLst>
          </p:cNvPr>
          <p:cNvCxnSpPr/>
          <p:nvPr/>
        </p:nvCxnSpPr>
        <p:spPr>
          <a:xfrm>
            <a:off x="6123060" y="86682"/>
            <a:ext cx="301752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xmlns="" id="{A564767E-22DE-48FA-A931-791F4E47BE26}"/>
              </a:ext>
            </a:extLst>
          </p:cNvPr>
          <p:cNvCxnSpPr>
            <a:cxnSpLocks/>
          </p:cNvCxnSpPr>
          <p:nvPr/>
        </p:nvCxnSpPr>
        <p:spPr>
          <a:xfrm>
            <a:off x="-953477" y="557329"/>
            <a:ext cx="10127512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F0AFADA5-7421-4F1B-AB20-1D2063572BF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/>
          <a:stretch/>
        </p:blipFill>
        <p:spPr>
          <a:xfrm>
            <a:off x="7863676" y="653560"/>
            <a:ext cx="1021954" cy="1042521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xmlns="" id="{5A02D3F2-D2C3-4F24-A324-6275216CE11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03658" y="1471530"/>
            <a:ext cx="1734455" cy="509835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2B18693C-790F-4C77-95AA-0A9B976BC3E3}"/>
              </a:ext>
            </a:extLst>
          </p:cNvPr>
          <p:cNvCxnSpPr>
            <a:cxnSpLocks/>
          </p:cNvCxnSpPr>
          <p:nvPr/>
        </p:nvCxnSpPr>
        <p:spPr>
          <a:xfrm>
            <a:off x="-890992" y="86682"/>
            <a:ext cx="1006502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1D3F8370-8ACB-4744-8C7F-2001C5AC7BE6}"/>
              </a:ext>
            </a:extLst>
          </p:cNvPr>
          <p:cNvSpPr/>
          <p:nvPr/>
        </p:nvSpPr>
        <p:spPr>
          <a:xfrm>
            <a:off x="726337" y="239508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3FB5F1DF-A625-4858-94CE-6E958CF628D4}"/>
              </a:ext>
            </a:extLst>
          </p:cNvPr>
          <p:cNvSpPr/>
          <p:nvPr/>
        </p:nvSpPr>
        <p:spPr>
          <a:xfrm>
            <a:off x="1034300" y="239508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5B46FD6C-76A2-41AC-B8F9-512E4DABDA72}"/>
              </a:ext>
            </a:extLst>
          </p:cNvPr>
          <p:cNvSpPr/>
          <p:nvPr/>
        </p:nvSpPr>
        <p:spPr>
          <a:xfrm>
            <a:off x="1650225" y="239508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5D9E68AF-8E71-4928-B98C-0BBEE65A3022}"/>
              </a:ext>
            </a:extLst>
          </p:cNvPr>
          <p:cNvSpPr/>
          <p:nvPr/>
        </p:nvSpPr>
        <p:spPr>
          <a:xfrm>
            <a:off x="1958188" y="239508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B71EB518-86A9-4D40-AA5F-1C76163C6BC8}"/>
              </a:ext>
            </a:extLst>
          </p:cNvPr>
          <p:cNvSpPr/>
          <p:nvPr/>
        </p:nvSpPr>
        <p:spPr>
          <a:xfrm>
            <a:off x="2266149" y="239508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1EACA74E-5B7F-45C4-AF16-DC62EB494C77}"/>
              </a:ext>
            </a:extLst>
          </p:cNvPr>
          <p:cNvSpPr/>
          <p:nvPr/>
        </p:nvSpPr>
        <p:spPr>
          <a:xfrm>
            <a:off x="1342263" y="239508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</p:spTree>
    <p:extLst>
      <p:ext uri="{BB962C8B-B14F-4D97-AF65-F5344CB8AC3E}">
        <p14:creationId xmlns:p14="http://schemas.microsoft.com/office/powerpoint/2010/main" val="256895852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9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0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2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4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5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6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7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5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6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7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8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9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0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1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2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204" grpId="0" animBg="1"/>
      <p:bldP spid="205" grpId="0"/>
      <p:bldP spid="206" grpId="0" build="p"/>
      <p:bldP spid="8" grpId="0"/>
      <p:bldP spid="9" grpId="0"/>
      <p:bldP spid="15" grpId="0" animBg="1"/>
      <p:bldP spid="17" grpId="0" animBg="1"/>
      <p:bldP spid="20" grpId="0" animBg="1"/>
      <p:bldP spid="21" grpId="0" animBg="1"/>
      <p:bldP spid="22" grpId="0" animBg="1"/>
      <p:bldP spid="23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0FC3722-8F96-43A5-A133-2ADF5CE88875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xmlns="" id="{475343A4-333F-4558-9B30-BC15AAB1A318}"/>
              </a:ext>
            </a:extLst>
          </p:cNvPr>
          <p:cNvSpPr/>
          <p:nvPr/>
        </p:nvSpPr>
        <p:spPr>
          <a:xfrm>
            <a:off x="-50782" y="1"/>
            <a:ext cx="11302409" cy="519489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xmlns="" id="{925C2EED-F692-4F64-B5C8-DBB35B8EAE13}"/>
              </a:ext>
            </a:extLst>
          </p:cNvPr>
          <p:cNvSpPr/>
          <p:nvPr/>
        </p:nvSpPr>
        <p:spPr>
          <a:xfrm>
            <a:off x="4762" y="66454"/>
            <a:ext cx="11191322" cy="507704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xmlns="" id="{BE6E1CF5-59DA-43AB-9866-0328CF12083B}"/>
              </a:ext>
            </a:extLst>
          </p:cNvPr>
          <p:cNvSpPr/>
          <p:nvPr/>
        </p:nvSpPr>
        <p:spPr>
          <a:xfrm>
            <a:off x="-3" y="127067"/>
            <a:ext cx="11111023" cy="4949979"/>
          </a:xfrm>
          <a:prstGeom prst="homePlat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xmlns="" id="{5386A08B-7D7F-47E3-92B0-DE14688643F9}"/>
              </a:ext>
            </a:extLst>
          </p:cNvPr>
          <p:cNvSpPr/>
          <p:nvPr/>
        </p:nvSpPr>
        <p:spPr>
          <a:xfrm>
            <a:off x="-55546" y="152763"/>
            <a:ext cx="11111023" cy="4889366"/>
          </a:xfrm>
          <a:prstGeom prst="homePlat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lvl="0" indent="0" rtl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400" dirty="0">
                <a:solidFill>
                  <a:srgbClr val="FF560D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</a:p>
          <a:p>
            <a:pPr marL="0" lvl="0" indent="0" rtl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dirty="0">
                <a:solidFill>
                  <a:srgbClr val="FF560D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r>
              <a:rPr lang="pt-BR" sz="1400" dirty="0">
                <a:solidFill>
                  <a:srgbClr val="FF560D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Syntax​ </a:t>
            </a:r>
            <a:r>
              <a:rPr lang="km-KH" sz="1400" dirty="0">
                <a:solidFill>
                  <a:srgbClr val="FF560D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ដើម្បីរៀបចំ </a:t>
            </a:r>
            <a:r>
              <a:rPr lang="pt-BR" sz="1400" dirty="0">
                <a:solidFill>
                  <a:srgbClr val="FF560D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format </a:t>
            </a:r>
            <a:r>
              <a:rPr lang="km-KH" sz="1400" dirty="0">
                <a:solidFill>
                  <a:srgbClr val="FF560D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ក្នុង </a:t>
            </a:r>
            <a:r>
              <a:rPr lang="pt-BR" sz="1400" dirty="0">
                <a:solidFill>
                  <a:srgbClr val="FF560D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crontab file</a:t>
            </a:r>
          </a:p>
          <a:p>
            <a:pPr lvl="2">
              <a:lnSpc>
                <a:spcPct val="200000"/>
              </a:lnSpc>
            </a:pPr>
            <a:r>
              <a:rPr lang="pt-BR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	&lt;minute&gt;​ &lt;hour&gt; &lt;day of month&gt; &lt;month&gt; &lt;day of week&gt; &lt;command&gt;</a:t>
            </a:r>
          </a:p>
          <a:p>
            <a:pPr lvl="2">
              <a:lnSpc>
                <a:spcPct val="200000"/>
              </a:lnSpc>
            </a:pPr>
            <a:r>
              <a:rPr lang="pt-BR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	</a:t>
            </a:r>
            <a:r>
              <a:rPr lang="pt-BR" u="sng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Field</a:t>
            </a:r>
            <a:r>
              <a:rPr lang="pt-BR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		</a:t>
            </a:r>
            <a:r>
              <a:rPr lang="pt-BR" u="sng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value</a:t>
            </a:r>
          </a:p>
          <a:p>
            <a:pPr lvl="2">
              <a:lnSpc>
                <a:spcPct val="200000"/>
              </a:lnSpc>
            </a:pPr>
            <a:r>
              <a:rPr lang="pt-BR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	Minute		    	0-59	</a:t>
            </a:r>
          </a:p>
          <a:p>
            <a:pPr lvl="2">
              <a:lnSpc>
                <a:spcPct val="200000"/>
              </a:lnSpc>
            </a:pPr>
            <a:r>
              <a:rPr lang="pt-BR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	Hour			0-23</a:t>
            </a:r>
          </a:p>
          <a:p>
            <a:pPr lvl="2">
              <a:lnSpc>
                <a:spcPct val="200000"/>
              </a:lnSpc>
            </a:pPr>
            <a:r>
              <a:rPr lang="pt-BR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	Day			1-31</a:t>
            </a:r>
          </a:p>
          <a:p>
            <a:pPr lvl="2">
              <a:lnSpc>
                <a:spcPct val="200000"/>
              </a:lnSpc>
            </a:pPr>
            <a:r>
              <a:rPr lang="pt-BR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	Month			1-12</a:t>
            </a:r>
          </a:p>
          <a:p>
            <a:pPr lvl="2">
              <a:lnSpc>
                <a:spcPct val="200000"/>
              </a:lnSpc>
            </a:pPr>
            <a:r>
              <a:rPr lang="pt-BR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	Day of week                                         0-7 (0 </a:t>
            </a:r>
            <a:r>
              <a:rPr lang="km-KH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និ​ង​ 7 សម្រាប់ </a:t>
            </a:r>
            <a:r>
              <a:rPr lang="pt-BR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Sunday(sun))</a:t>
            </a:r>
          </a:p>
          <a:p>
            <a:pPr lvl="2">
              <a:lnSpc>
                <a:spcPct val="200000"/>
              </a:lnSpc>
            </a:pPr>
            <a:r>
              <a:rPr lang="en-US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r>
              <a:rPr lang="km-KH" dirty="0">
                <a:solidFill>
                  <a:srgbClr val="FF560D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ការប្រើប្រាស់ </a:t>
            </a:r>
            <a:r>
              <a:rPr lang="pt-BR" dirty="0">
                <a:solidFill>
                  <a:srgbClr val="FF560D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ranges </a:t>
            </a:r>
            <a:r>
              <a:rPr lang="km-KH" dirty="0">
                <a:solidFill>
                  <a:srgbClr val="FF560D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ដើម្បីកំណត់ពេលវេលា</a:t>
            </a:r>
          </a:p>
          <a:p>
            <a:pPr lvl="2">
              <a:lnSpc>
                <a:spcPct val="200000"/>
              </a:lnSpc>
            </a:pPr>
            <a:r>
              <a:rPr lang="pt-BR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	Range </a:t>
            </a:r>
            <a:r>
              <a:rPr lang="km-KH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អាចកំណត់បានដោយប្រើសញ្ញា (-)​ </a:t>
            </a:r>
            <a:r>
              <a:rPr lang="pt-BR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hyphen.</a:t>
            </a:r>
          </a:p>
          <a:p>
            <a:pPr marL="0" lvl="0" indent="0" rtl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pt-BR" sz="1400" dirty="0">
              <a:solidFill>
                <a:srgbClr val="FFFFFF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1A6F54B5-0441-4560-B588-51F6748A10E7}"/>
              </a:ext>
            </a:extLst>
          </p:cNvPr>
          <p:cNvSpPr/>
          <p:nvPr/>
        </p:nvSpPr>
        <p:spPr>
          <a:xfrm>
            <a:off x="853933" y="303302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E76D8363-97F8-4D84-B055-4CAB5AF1B9B9}"/>
              </a:ext>
            </a:extLst>
          </p:cNvPr>
          <p:cNvSpPr/>
          <p:nvPr/>
        </p:nvSpPr>
        <p:spPr>
          <a:xfrm>
            <a:off x="1161896" y="303302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E1E5901C-75B9-4255-B79F-AFC39A71CB5A}"/>
              </a:ext>
            </a:extLst>
          </p:cNvPr>
          <p:cNvSpPr/>
          <p:nvPr/>
        </p:nvSpPr>
        <p:spPr>
          <a:xfrm>
            <a:off x="1777821" y="303302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5B68763A-C0FE-4288-99F2-5FD3D1D6259F}"/>
              </a:ext>
            </a:extLst>
          </p:cNvPr>
          <p:cNvSpPr/>
          <p:nvPr/>
        </p:nvSpPr>
        <p:spPr>
          <a:xfrm>
            <a:off x="2085784" y="303302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36678E34-C42F-4272-A80C-040E642AF4BE}"/>
              </a:ext>
            </a:extLst>
          </p:cNvPr>
          <p:cNvSpPr/>
          <p:nvPr/>
        </p:nvSpPr>
        <p:spPr>
          <a:xfrm>
            <a:off x="2393745" y="303302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12996ED4-A971-4578-B5CD-3D91B7A50B7D}"/>
              </a:ext>
            </a:extLst>
          </p:cNvPr>
          <p:cNvSpPr/>
          <p:nvPr/>
        </p:nvSpPr>
        <p:spPr>
          <a:xfrm>
            <a:off x="1469859" y="303302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xmlns="" id="{F4FC888B-7FCA-46F6-B3EA-F5E5A44DE1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03568" y="250851"/>
            <a:ext cx="1025765" cy="301519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xmlns="" id="{3AF8591F-F851-4C72-BCB4-63E779F403D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8170626" y="213443"/>
            <a:ext cx="387695" cy="395497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440962161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6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0FC3722-8F96-43A5-A133-2ADF5CE88875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xmlns="" id="{475343A4-333F-4558-9B30-BC15AAB1A318}"/>
              </a:ext>
            </a:extLst>
          </p:cNvPr>
          <p:cNvSpPr/>
          <p:nvPr/>
        </p:nvSpPr>
        <p:spPr>
          <a:xfrm>
            <a:off x="-50782" y="1"/>
            <a:ext cx="11302409" cy="519489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xmlns="" id="{925C2EED-F692-4F64-B5C8-DBB35B8EAE13}"/>
              </a:ext>
            </a:extLst>
          </p:cNvPr>
          <p:cNvSpPr/>
          <p:nvPr/>
        </p:nvSpPr>
        <p:spPr>
          <a:xfrm>
            <a:off x="-55546" y="66454"/>
            <a:ext cx="11251630" cy="507704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xmlns="" id="{BE6E1CF5-59DA-43AB-9866-0328CF12083B}"/>
              </a:ext>
            </a:extLst>
          </p:cNvPr>
          <p:cNvSpPr/>
          <p:nvPr/>
        </p:nvSpPr>
        <p:spPr>
          <a:xfrm>
            <a:off x="-3" y="127067"/>
            <a:ext cx="11111023" cy="4949979"/>
          </a:xfrm>
          <a:prstGeom prst="homePlat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xmlns="" id="{5386A08B-7D7F-47E3-92B0-DE14688643F9}"/>
              </a:ext>
            </a:extLst>
          </p:cNvPr>
          <p:cNvSpPr/>
          <p:nvPr/>
        </p:nvSpPr>
        <p:spPr>
          <a:xfrm>
            <a:off x="-74428" y="152763"/>
            <a:ext cx="11129905" cy="4889366"/>
          </a:xfrm>
          <a:prstGeom prst="homePlat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200000"/>
              </a:lnSpc>
            </a:pPr>
            <a:r>
              <a:rPr lang="pt-BR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</a:p>
          <a:p>
            <a:pPr lvl="0">
              <a:lnSpc>
                <a:spcPct val="200000"/>
              </a:lnSpc>
            </a:pPr>
            <a:r>
              <a:rPr lang="pt-BR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	1-5: </a:t>
            </a:r>
            <a:r>
              <a:rPr lang="km-KH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បង្ហាញថា </a:t>
            </a:r>
            <a:r>
              <a:rPr lang="pt-BR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Field </a:t>
            </a:r>
            <a:r>
              <a:rPr lang="km-KH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មានតម្លៃចាប់ពីលេខ</a:t>
            </a:r>
            <a:r>
              <a:rPr lang="en-US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</a:t>
            </a:r>
            <a:r>
              <a:rPr lang="km-KH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១</a:t>
            </a:r>
            <a:r>
              <a:rPr lang="en-US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</a:t>
            </a:r>
            <a:r>
              <a:rPr lang="km-KH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ដល់លេខ</a:t>
            </a:r>
            <a:r>
              <a:rPr lang="en-US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</a:t>
            </a:r>
            <a:r>
              <a:rPr lang="km-KH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៥</a:t>
            </a:r>
          </a:p>
          <a:p>
            <a:pPr lvl="0">
              <a:lnSpc>
                <a:spcPct val="200000"/>
              </a:lnSpc>
            </a:pPr>
            <a:r>
              <a:rPr lang="en-US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r>
              <a:rPr lang="km-KH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ការប្រើប្រាស់តម្លៃជាជំហានៗដើម្បីកំណត់ការចាប់ផ្តើម</a:t>
            </a:r>
            <a:r>
              <a:rPr lang="en-US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:</a:t>
            </a:r>
            <a:endParaRPr lang="km-KH" dirty="0">
              <a:solidFill>
                <a:srgbClr val="FFFFFF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lvl="0">
              <a:lnSpc>
                <a:spcPct val="200000"/>
              </a:lnSpc>
            </a:pPr>
            <a:r>
              <a:rPr lang="en-US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	</a:t>
            </a:r>
            <a:r>
              <a:rPr lang="km-KH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*/3 ​ក្នុង ​​</a:t>
            </a:r>
            <a:r>
              <a:rPr lang="pt-BR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hour field </a:t>
            </a:r>
            <a:r>
              <a:rPr lang="km-KH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ត្រូវគ្នាជាមួយមួយភាគ៣នៃម៉ោង (</a:t>
            </a:r>
            <a:r>
              <a:rPr lang="en-US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</a:t>
            </a:r>
            <a:r>
              <a:rPr lang="km-KH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0,3,6,9,12,</a:t>
            </a:r>
            <a:r>
              <a:rPr lang="en-US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18 </a:t>
            </a:r>
            <a:r>
              <a:rPr lang="pt-BR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and 21 )</a:t>
            </a:r>
          </a:p>
          <a:p>
            <a:pPr lvl="0">
              <a:lnSpc>
                <a:spcPct val="200000"/>
              </a:lnSpc>
            </a:pPr>
            <a:r>
              <a:rPr lang="en-US" dirty="0">
                <a:solidFill>
                  <a:srgbClr val="FF560D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r>
              <a:rPr lang="km-KH" dirty="0">
                <a:solidFill>
                  <a:srgbClr val="FF560D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ឧទាហរណ៍កំណត់ថ្ងៃ</a:t>
            </a:r>
          </a:p>
          <a:p>
            <a:pPr lvl="0">
              <a:lnSpc>
                <a:spcPct val="200000"/>
              </a:lnSpc>
            </a:pPr>
            <a:r>
              <a:rPr lang="en-US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	</a:t>
            </a:r>
            <a:r>
              <a:rPr lang="km-KH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ថ្ងៃដែលបញ្ជាមួយ </a:t>
            </a:r>
            <a:r>
              <a:rPr lang="pt-BR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run </a:t>
            </a:r>
            <a:r>
              <a:rPr lang="km-KH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ត្រូវបានកំណត់ពីរ</a:t>
            </a:r>
            <a:r>
              <a:rPr lang="en-US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</a:t>
            </a:r>
            <a:r>
              <a:rPr lang="pt-BR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fields </a:t>
            </a:r>
            <a:r>
              <a:rPr lang="km-KH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គឺថ្ងៃនៃសប្តាហ៍និងថ្ងៃទី។ </a:t>
            </a:r>
            <a:r>
              <a:rPr lang="pt-BR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command </a:t>
            </a:r>
            <a:r>
              <a:rPr lang="km-KH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ដំណើរការបើ</a:t>
            </a:r>
            <a:r>
              <a:rPr lang="en-US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	</a:t>
            </a:r>
            <a:r>
              <a:rPr lang="km-KH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មានមួយណាពិត។</a:t>
            </a:r>
            <a:endParaRPr lang="en-US" dirty="0">
              <a:solidFill>
                <a:srgbClr val="FFFFFF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lvl="0">
              <a:lnSpc>
                <a:spcPct val="200000"/>
              </a:lnSpc>
            </a:pPr>
            <a:r>
              <a:rPr lang="en-US" dirty="0">
                <a:solidFill>
                  <a:srgbClr val="FF560D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r>
              <a:rPr lang="km-KH" dirty="0">
                <a:solidFill>
                  <a:srgbClr val="FF560D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ឧទាហរណ៍</a:t>
            </a:r>
          </a:p>
          <a:p>
            <a:pPr lvl="0">
              <a:lnSpc>
                <a:spcPct val="200000"/>
              </a:lnSpc>
            </a:pPr>
            <a:r>
              <a:rPr lang="en-US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r>
              <a:rPr lang="km-KH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បញ្ជាខាងក្រោមត្រូវបាន </a:t>
            </a:r>
            <a:r>
              <a:rPr lang="en-US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execute </a:t>
            </a:r>
            <a:r>
              <a:rPr lang="km-KH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នៅម៉ោង 5:00 </a:t>
            </a:r>
            <a:r>
              <a:rPr lang="en-US" dirty="0" err="1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p.m</a:t>
            </a:r>
            <a:r>
              <a:rPr lang="en-US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</a:t>
            </a:r>
            <a:r>
              <a:rPr lang="km-KH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ថ្ងៃទី១និងថ្ងៃទី១៥ នឹងគ្រប់ថ្ងៃសុក្រ។</a:t>
            </a:r>
            <a:endParaRPr lang="en-US" dirty="0">
              <a:solidFill>
                <a:srgbClr val="FFFFFF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lvl="0">
              <a:lnSpc>
                <a:spcPct val="200000"/>
              </a:lnSpc>
            </a:pPr>
            <a:r>
              <a:rPr lang="en-US" dirty="0">
                <a:solidFill>
                  <a:srgbClr val="FF560D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r>
              <a:rPr lang="km-KH" dirty="0">
                <a:solidFill>
                  <a:srgbClr val="FF560D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ឧទាហរណ៍ </a:t>
            </a:r>
            <a:r>
              <a:rPr lang="en-US" dirty="0">
                <a:solidFill>
                  <a:srgbClr val="FF560D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crontab file</a:t>
            </a:r>
          </a:p>
          <a:p>
            <a:pPr lvl="8">
              <a:lnSpc>
                <a:spcPct val="150000"/>
              </a:lnSpc>
            </a:pPr>
            <a:r>
              <a:rPr lang="en-US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0	      17	      1,15	         *	            5	            /</a:t>
            </a:r>
            <a:r>
              <a:rPr lang="en-US" dirty="0" err="1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usr</a:t>
            </a:r>
            <a:r>
              <a:rPr lang="en-US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/bin/wall "it time to go bed!"</a:t>
            </a:r>
          </a:p>
          <a:p>
            <a:pPr lvl="0">
              <a:lnSpc>
                <a:spcPct val="200000"/>
              </a:lnSpc>
            </a:pPr>
            <a:endParaRPr lang="pt-BR" dirty="0">
              <a:solidFill>
                <a:srgbClr val="FFFFFF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1A6F54B5-0441-4560-B588-51F6748A10E7}"/>
              </a:ext>
            </a:extLst>
          </p:cNvPr>
          <p:cNvSpPr/>
          <p:nvPr/>
        </p:nvSpPr>
        <p:spPr>
          <a:xfrm>
            <a:off x="853933" y="303302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E76D8363-97F8-4D84-B055-4CAB5AF1B9B9}"/>
              </a:ext>
            </a:extLst>
          </p:cNvPr>
          <p:cNvSpPr/>
          <p:nvPr/>
        </p:nvSpPr>
        <p:spPr>
          <a:xfrm>
            <a:off x="1161896" y="303302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E1E5901C-75B9-4255-B79F-AFC39A71CB5A}"/>
              </a:ext>
            </a:extLst>
          </p:cNvPr>
          <p:cNvSpPr/>
          <p:nvPr/>
        </p:nvSpPr>
        <p:spPr>
          <a:xfrm>
            <a:off x="1777821" y="303302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5B68763A-C0FE-4288-99F2-5FD3D1D6259F}"/>
              </a:ext>
            </a:extLst>
          </p:cNvPr>
          <p:cNvSpPr/>
          <p:nvPr/>
        </p:nvSpPr>
        <p:spPr>
          <a:xfrm>
            <a:off x="2085784" y="303302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36678E34-C42F-4272-A80C-040E642AF4BE}"/>
              </a:ext>
            </a:extLst>
          </p:cNvPr>
          <p:cNvSpPr/>
          <p:nvPr/>
        </p:nvSpPr>
        <p:spPr>
          <a:xfrm>
            <a:off x="2393745" y="303302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12996ED4-A971-4578-B5CD-3D91B7A50B7D}"/>
              </a:ext>
            </a:extLst>
          </p:cNvPr>
          <p:cNvSpPr/>
          <p:nvPr/>
        </p:nvSpPr>
        <p:spPr>
          <a:xfrm>
            <a:off x="1469859" y="303302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xmlns="" id="{F4FC888B-7FCA-46F6-B3EA-F5E5A44DE1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03568" y="250851"/>
            <a:ext cx="1025765" cy="301519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xmlns="" id="{3AF8591F-F851-4C72-BCB4-63E779F403D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8170626" y="213443"/>
            <a:ext cx="387695" cy="395497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955365051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0FC3722-8F96-43A5-A133-2ADF5CE88875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xmlns="" id="{475343A4-333F-4558-9B30-BC15AAB1A318}"/>
              </a:ext>
            </a:extLst>
          </p:cNvPr>
          <p:cNvSpPr/>
          <p:nvPr/>
        </p:nvSpPr>
        <p:spPr>
          <a:xfrm>
            <a:off x="-50782" y="1"/>
            <a:ext cx="11302409" cy="519489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xmlns="" id="{925C2EED-F692-4F64-B5C8-DBB35B8EAE13}"/>
              </a:ext>
            </a:extLst>
          </p:cNvPr>
          <p:cNvSpPr/>
          <p:nvPr/>
        </p:nvSpPr>
        <p:spPr>
          <a:xfrm>
            <a:off x="4762" y="66454"/>
            <a:ext cx="11191322" cy="507704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xmlns="" id="{BE6E1CF5-59DA-43AB-9866-0328CF12083B}"/>
              </a:ext>
            </a:extLst>
          </p:cNvPr>
          <p:cNvSpPr/>
          <p:nvPr/>
        </p:nvSpPr>
        <p:spPr>
          <a:xfrm>
            <a:off x="-3" y="127067"/>
            <a:ext cx="11111023" cy="4949979"/>
          </a:xfrm>
          <a:prstGeom prst="homePlat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xmlns="" id="{5386A08B-7D7F-47E3-92B0-DE14688643F9}"/>
              </a:ext>
            </a:extLst>
          </p:cNvPr>
          <p:cNvSpPr/>
          <p:nvPr/>
        </p:nvSpPr>
        <p:spPr>
          <a:xfrm>
            <a:off x="-55546" y="152763"/>
            <a:ext cx="11111023" cy="4889366"/>
          </a:xfrm>
          <a:prstGeom prst="homePlat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200000"/>
              </a:lnSpc>
            </a:pPr>
            <a:r>
              <a:rPr lang="en-US" dirty="0">
                <a:solidFill>
                  <a:srgbClr val="FF560D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endParaRPr lang="en-US" dirty="0">
              <a:solidFill>
                <a:srgbClr val="FFFFFF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lvl="8">
              <a:lnSpc>
                <a:spcPct val="150000"/>
              </a:lnSpc>
            </a:pPr>
            <a:r>
              <a:rPr lang="en-US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r>
              <a:rPr lang="km-KH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</a:t>
            </a:r>
            <a:r>
              <a:rPr lang="km-KH" dirty="0">
                <a:solidFill>
                  <a:srgbClr val="FF560D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នេះវាប្រាប់ </a:t>
            </a:r>
            <a:r>
              <a:rPr lang="en-US" dirty="0" err="1">
                <a:solidFill>
                  <a:srgbClr val="FF560D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cron</a:t>
            </a:r>
            <a:r>
              <a:rPr lang="en-US" dirty="0">
                <a:solidFill>
                  <a:srgbClr val="FF560D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​ daemon </a:t>
            </a:r>
            <a:r>
              <a:rPr lang="km-KH" dirty="0">
                <a:solidFill>
                  <a:srgbClr val="FF560D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ឲ្យ  </a:t>
            </a:r>
            <a:r>
              <a:rPr lang="en-US" dirty="0">
                <a:solidFill>
                  <a:srgbClr val="FF560D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execute </a:t>
            </a:r>
            <a:r>
              <a:rPr lang="km-KH" dirty="0">
                <a:solidFill>
                  <a:srgbClr val="FF560D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បញ្ជា </a:t>
            </a:r>
            <a:r>
              <a:rPr lang="en-US" dirty="0" err="1">
                <a:solidFill>
                  <a:srgbClr val="FF560D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saytime</a:t>
            </a:r>
            <a:r>
              <a:rPr lang="en-US" dirty="0">
                <a:solidFill>
                  <a:srgbClr val="FF560D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</a:t>
            </a:r>
            <a:r>
              <a:rPr lang="km-KH" dirty="0">
                <a:solidFill>
                  <a:srgbClr val="FF560D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នៅរៀងរាល់ ១៥ វិនាទី</a:t>
            </a:r>
            <a:r>
              <a:rPr lang="en-US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:</a:t>
            </a:r>
            <a:endParaRPr lang="en-US" dirty="0">
              <a:solidFill>
                <a:srgbClr val="FF560D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lvl="8">
              <a:lnSpc>
                <a:spcPct val="150000"/>
              </a:lnSpc>
            </a:pPr>
            <a:r>
              <a:rPr lang="en-US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*/15	*	*	*	*</a:t>
            </a:r>
            <a:r>
              <a:rPr lang="km-KH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r>
              <a:rPr lang="en-US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/</a:t>
            </a:r>
            <a:r>
              <a:rPr lang="en-US" dirty="0" err="1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usr</a:t>
            </a:r>
            <a:r>
              <a:rPr lang="en-US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/</a:t>
            </a:r>
            <a:r>
              <a:rPr lang="en-US" dirty="0" err="1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localbin</a:t>
            </a:r>
            <a:r>
              <a:rPr lang="en-US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/</a:t>
            </a:r>
            <a:r>
              <a:rPr lang="en-US" dirty="0" err="1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saytime</a:t>
            </a:r>
            <a:endParaRPr lang="en-US" dirty="0">
              <a:solidFill>
                <a:srgbClr val="FFFFFF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lvl="8">
              <a:lnSpc>
                <a:spcPct val="150000"/>
              </a:lnSpc>
            </a:pPr>
            <a:r>
              <a:rPr lang="en-US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r>
              <a:rPr lang="km-KH" dirty="0">
                <a:solidFill>
                  <a:srgbClr val="FF560D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បើអ្នកចង់ឲ្យវាបង្ហាញ១វិនាទីម្តងប្រើ ៖</a:t>
            </a:r>
          </a:p>
          <a:p>
            <a:pPr lvl="8">
              <a:lnSpc>
                <a:spcPct val="150000"/>
              </a:lnSpc>
            </a:pPr>
            <a:r>
              <a:rPr lang="km-KH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*	*	*	*	*	/</a:t>
            </a:r>
            <a:r>
              <a:rPr lang="pt-BR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usr/local/bin/saytime%</a:t>
            </a:r>
          </a:p>
          <a:p>
            <a:pPr lvl="8">
              <a:lnSpc>
                <a:spcPct val="150000"/>
              </a:lnSpc>
              <a:buClr>
                <a:srgbClr val="FFFFFF"/>
              </a:buClr>
              <a:buSzPts val="1200"/>
              <a:defRPr/>
            </a:pPr>
            <a:r>
              <a:rPr lang="km-KH" dirty="0">
                <a:solidFill>
                  <a:srgbClr val="FF560D"/>
                </a:solidFill>
                <a:latin typeface="Ang DaunKeo" panose="020B0503020102020204" pitchFamily="34" charset="0"/>
                <a:cs typeface="Ang DaunKeo" panose="020B0503020102020204" pitchFamily="34" charset="0"/>
                <a:sym typeface="DM Sans"/>
              </a:rPr>
              <a:t>ឧទាហរណ៍មួយទៀត​ ៖</a:t>
            </a:r>
          </a:p>
          <a:p>
            <a:pPr lvl="8">
              <a:lnSpc>
                <a:spcPct val="150000"/>
              </a:lnSpc>
              <a:buClr>
                <a:srgbClr val="FFFFFF"/>
              </a:buClr>
              <a:buSzPts val="1200"/>
              <a:defRPr/>
            </a:pPr>
            <a:r>
              <a:rPr lang="km-KH" dirty="0">
                <a:solidFill>
                  <a:srgbClr val="FF560D"/>
                </a:solidFill>
                <a:latin typeface="Ang DaunKeo" panose="020B0503020102020204" pitchFamily="34" charset="0"/>
                <a:cs typeface="Ang DaunKeo" panose="020B0503020102020204" pitchFamily="34" charset="0"/>
                <a:sym typeface="DM Sans"/>
              </a:rPr>
              <a:t>	</a:t>
            </a:r>
            <a:r>
              <a:rPr lang="en-US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0</a:t>
            </a:r>
            <a:r>
              <a:rPr lang="km-KH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r>
              <a:rPr lang="en-US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0 </a:t>
            </a:r>
            <a:r>
              <a:rPr lang="km-KH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r>
              <a:rPr lang="en-US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*</a:t>
            </a:r>
            <a:r>
              <a:rPr lang="km-KH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r>
              <a:rPr lang="en-US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* </a:t>
            </a:r>
            <a:r>
              <a:rPr lang="km-KH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r>
              <a:rPr lang="en-US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*</a:t>
            </a:r>
            <a:r>
              <a:rPr lang="km-KH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r>
              <a:rPr lang="en-US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/backup.sh</a:t>
            </a:r>
            <a:endParaRPr lang="km-KH" dirty="0">
              <a:solidFill>
                <a:srgbClr val="FFFFFF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lvl="8">
              <a:lnSpc>
                <a:spcPct val="150000"/>
              </a:lnSpc>
              <a:buClr>
                <a:srgbClr val="FFFFFF"/>
              </a:buClr>
              <a:buSzPts val="1200"/>
              <a:defRPr/>
            </a:pPr>
            <a:r>
              <a:rPr lang="km-KH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r>
              <a:rPr lang="en-US" dirty="0">
                <a:solidFill>
                  <a:schemeClr val="tx2"/>
                </a:solidFill>
                <a:latin typeface="Ang DaunKeo" panose="020B0503020102020204" pitchFamily="34" charset="0"/>
                <a:cs typeface="Ang DaunKeo" panose="020B0503020102020204" pitchFamily="34" charset="0"/>
                <a:sym typeface="DM Sans"/>
              </a:rPr>
              <a:t>This </a:t>
            </a:r>
            <a:r>
              <a:rPr lang="en-US" dirty="0" err="1">
                <a:solidFill>
                  <a:schemeClr val="tx2"/>
                </a:solidFill>
                <a:latin typeface="Ang DaunKeo" panose="020B0503020102020204" pitchFamily="34" charset="0"/>
                <a:cs typeface="Ang DaunKeo" panose="020B0503020102020204" pitchFamily="34" charset="0"/>
                <a:sym typeface="DM Sans"/>
              </a:rPr>
              <a:t>cron</a:t>
            </a:r>
            <a:r>
              <a:rPr lang="en-US" dirty="0">
                <a:solidFill>
                  <a:schemeClr val="tx2"/>
                </a:solidFill>
                <a:latin typeface="Ang DaunKeo" panose="020B0503020102020204" pitchFamily="34" charset="0"/>
                <a:cs typeface="Ang DaunKeo" panose="020B0503020102020204" pitchFamily="34" charset="0"/>
                <a:sym typeface="DM Sans"/>
              </a:rPr>
              <a:t> job will run the backup.sh script every day at midnight.</a:t>
            </a:r>
          </a:p>
          <a:p>
            <a:pPr lvl="8">
              <a:lnSpc>
                <a:spcPct val="150000"/>
              </a:lnSpc>
              <a:buClr>
                <a:srgbClr val="FFFFFF"/>
              </a:buClr>
              <a:buSzPts val="1200"/>
              <a:defRPr/>
            </a:pPr>
            <a:r>
              <a:rPr lang="km-KH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</a:p>
          <a:p>
            <a:pPr lvl="8">
              <a:lnSpc>
                <a:spcPct val="150000"/>
              </a:lnSpc>
              <a:buClr>
                <a:srgbClr val="FFFFFF"/>
              </a:buClr>
              <a:buSzPts val="1200"/>
              <a:defRPr/>
            </a:pPr>
            <a:r>
              <a:rPr lang="km-KH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r>
              <a:rPr lang="en-US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*	22	*	*	1-4	/</a:t>
            </a:r>
            <a:r>
              <a:rPr lang="en-US" dirty="0" err="1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usr</a:t>
            </a:r>
            <a:r>
              <a:rPr lang="en-US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/bin/wall ‘Time for bed! Stop  working now?’</a:t>
            </a:r>
          </a:p>
          <a:p>
            <a:pPr lvl="8">
              <a:lnSpc>
                <a:spcPct val="150000"/>
              </a:lnSpc>
              <a:buClr>
                <a:srgbClr val="FFFFFF"/>
              </a:buClr>
              <a:buSzPts val="1200"/>
              <a:defRPr/>
            </a:pPr>
            <a:r>
              <a:rPr lang="en-US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r>
              <a:rPr lang="ca-ES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វានឹង </a:t>
            </a:r>
            <a:r>
              <a:rPr lang="en-US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Broadcast </a:t>
            </a:r>
            <a:r>
              <a:rPr lang="km-KH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នៅម៉ោង ១០ </a:t>
            </a:r>
            <a:r>
              <a:rPr lang="en-US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P.M </a:t>
            </a:r>
            <a:r>
              <a:rPr lang="km-KH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ពីថ្ងៃចន្ទដល់ថ្ងៃសុក្រ</a:t>
            </a:r>
            <a:r>
              <a:rPr lang="en-US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  </a:t>
            </a:r>
            <a:endParaRPr lang="km-KH" dirty="0">
              <a:solidFill>
                <a:srgbClr val="FFFFFF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lvl="8">
              <a:lnSpc>
                <a:spcPct val="150000"/>
              </a:lnSpc>
              <a:buClr>
                <a:srgbClr val="FFFFFF"/>
              </a:buClr>
              <a:buSzPts val="1200"/>
              <a:defRPr/>
            </a:pPr>
            <a:endParaRPr lang="km-KH" dirty="0">
              <a:solidFill>
                <a:srgbClr val="FFFFFF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r>
              <a:rPr lang="en-US" b="1" dirty="0">
                <a:solidFill>
                  <a:srgbClr val="FF560D"/>
                </a:solidFill>
              </a:rPr>
              <a:t>Additional Resources</a:t>
            </a:r>
            <a:endParaRPr lang="en-US" dirty="0">
              <a:solidFill>
                <a:srgbClr val="FF560D"/>
              </a:solidFill>
            </a:endParaRPr>
          </a:p>
          <a:p>
            <a:pPr fontAlgn="base"/>
            <a:r>
              <a:rPr lang="km-KH" dirty="0"/>
              <a:t>	</a:t>
            </a:r>
            <a:r>
              <a:rPr lang="en-US" dirty="0" err="1"/>
              <a:t>Crontab.guru</a:t>
            </a:r>
            <a:r>
              <a:rPr lang="en-US" dirty="0"/>
              <a:t>: </a:t>
            </a:r>
            <a:r>
              <a:rPr lang="en-US" u="sng" dirty="0">
                <a:solidFill>
                  <a:srgbClr val="0070C0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crontab.guru/examples.html</a:t>
            </a:r>
            <a:r>
              <a:rPr lang="en-US" dirty="0">
                <a:solidFill>
                  <a:srgbClr val="0070C0"/>
                </a:solidFill>
              </a:rPr>
              <a:t>: </a:t>
            </a:r>
            <a:r>
              <a:rPr lang="en-US" u="sng" dirty="0">
                <a:solidFill>
                  <a:srgbClr val="0070C0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crontab.guru/examples.html</a:t>
            </a:r>
            <a:r>
              <a:rPr lang="en-US" dirty="0">
                <a:solidFill>
                  <a:srgbClr val="0070C0"/>
                </a:solidFill>
              </a:rPr>
              <a:t> </a:t>
            </a:r>
            <a:endParaRPr lang="km-KH" dirty="0">
              <a:solidFill>
                <a:srgbClr val="0070C0"/>
              </a:solidFill>
            </a:endParaRPr>
          </a:p>
          <a:p>
            <a:pPr fontAlgn="base"/>
            <a:r>
              <a:rPr lang="km-KH" dirty="0"/>
              <a:t>	</a:t>
            </a:r>
            <a:r>
              <a:rPr lang="en-US" dirty="0"/>
              <a:t>is a great resource for learning about crontab syntax and creating </a:t>
            </a:r>
            <a:r>
              <a:rPr lang="en-US" dirty="0" err="1"/>
              <a:t>cron</a:t>
            </a:r>
            <a:r>
              <a:rPr lang="en-US" dirty="0"/>
              <a:t> jobs.</a:t>
            </a:r>
          </a:p>
          <a:p>
            <a:pPr lvl="0">
              <a:lnSpc>
                <a:spcPct val="200000"/>
              </a:lnSpc>
            </a:pPr>
            <a:endParaRPr lang="pt-BR" sz="1600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1A6F54B5-0441-4560-B588-51F6748A10E7}"/>
              </a:ext>
            </a:extLst>
          </p:cNvPr>
          <p:cNvSpPr/>
          <p:nvPr/>
        </p:nvSpPr>
        <p:spPr>
          <a:xfrm>
            <a:off x="853933" y="303302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E76D8363-97F8-4D84-B055-4CAB5AF1B9B9}"/>
              </a:ext>
            </a:extLst>
          </p:cNvPr>
          <p:cNvSpPr/>
          <p:nvPr/>
        </p:nvSpPr>
        <p:spPr>
          <a:xfrm>
            <a:off x="1161896" y="303302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E1E5901C-75B9-4255-B79F-AFC39A71CB5A}"/>
              </a:ext>
            </a:extLst>
          </p:cNvPr>
          <p:cNvSpPr/>
          <p:nvPr/>
        </p:nvSpPr>
        <p:spPr>
          <a:xfrm>
            <a:off x="1777821" y="303302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5B68763A-C0FE-4288-99F2-5FD3D1D6259F}"/>
              </a:ext>
            </a:extLst>
          </p:cNvPr>
          <p:cNvSpPr/>
          <p:nvPr/>
        </p:nvSpPr>
        <p:spPr>
          <a:xfrm>
            <a:off x="2085784" y="303302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36678E34-C42F-4272-A80C-040E642AF4BE}"/>
              </a:ext>
            </a:extLst>
          </p:cNvPr>
          <p:cNvSpPr/>
          <p:nvPr/>
        </p:nvSpPr>
        <p:spPr>
          <a:xfrm>
            <a:off x="2393745" y="303302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12996ED4-A971-4578-B5CD-3D91B7A50B7D}"/>
              </a:ext>
            </a:extLst>
          </p:cNvPr>
          <p:cNvSpPr/>
          <p:nvPr/>
        </p:nvSpPr>
        <p:spPr>
          <a:xfrm>
            <a:off x="1469859" y="303302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xmlns="" id="{F4FC888B-7FCA-46F6-B3EA-F5E5A44DE18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03568" y="250851"/>
            <a:ext cx="1025765" cy="301519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xmlns="" id="{3AF8591F-F851-4C72-BCB4-63E779F403DA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/>
          <a:stretch/>
        </p:blipFill>
        <p:spPr>
          <a:xfrm>
            <a:off x="8170626" y="213443"/>
            <a:ext cx="387695" cy="395497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570808010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4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983EDB11-5B99-4F09-9BC7-D746870E1C4E}"/>
              </a:ext>
            </a:extLst>
          </p:cNvPr>
          <p:cNvSpPr/>
          <p:nvPr/>
        </p:nvSpPr>
        <p:spPr>
          <a:xfrm>
            <a:off x="874767" y="1533036"/>
            <a:ext cx="3129771" cy="166574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tIns="54864" rIns="54864" bIns="54864" numCol="1" rtlCol="0" anchor="ctr"/>
          <a:lstStyle/>
          <a:p>
            <a:pPr marL="0" marR="0" lvl="0" indent="0" algn="ctr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sz="14925" dirty="0">
                <a:solidFill>
                  <a:srgbClr val="273C75">
                    <a:lumMod val="20000"/>
                    <a:lumOff val="80000"/>
                  </a:srgbClr>
                </a:solidFill>
                <a:latin typeface="សម្រាប់កូនខ្មែរ" panose="02000500000000020004" pitchFamily="2" charset="0"/>
                <a:cs typeface="សម្រាប់កូនខ្មែរ" panose="02000500000000020004" pitchFamily="2" charset="0"/>
              </a:rPr>
              <a:t>6.0</a:t>
            </a:r>
            <a:endParaRPr kumimoji="0" lang="en-US" sz="750" b="0" i="0" u="none" strike="noStrike" kern="0" cap="none" spc="0" normalizeH="0" baseline="0" noProof="0" dirty="0">
              <a:ln>
                <a:noFill/>
              </a:ln>
              <a:solidFill>
                <a:srgbClr val="273C75">
                  <a:lumMod val="20000"/>
                  <a:lumOff val="80000"/>
                </a:srgbClr>
              </a:solidFill>
              <a:effectLst/>
              <a:uLnTx/>
              <a:uFillTx/>
              <a:latin typeface="សម្រាប់កូនខ្មែរ" panose="02000500000000020004" pitchFamily="2" charset="0"/>
              <a:ea typeface="+mn-ea"/>
              <a:cs typeface="សម្រាប់កូនខ្មែរ" panose="02000500000000020004" pitchFamily="2" charset="0"/>
              <a:sym typeface="Arial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CA0D9CDC-ABFA-43C8-8F37-F5B8682C8A96}"/>
              </a:ext>
            </a:extLst>
          </p:cNvPr>
          <p:cNvSpPr/>
          <p:nvPr/>
        </p:nvSpPr>
        <p:spPr>
          <a:xfrm>
            <a:off x="4025398" y="1478151"/>
            <a:ext cx="4143126" cy="19485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altLang="de-DE" sz="1350" b="0" i="0" u="none" strike="noStrike" kern="120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72BA5E31-8C76-4878-8E9A-40C31B4AFA64}"/>
              </a:ext>
            </a:extLst>
          </p:cNvPr>
          <p:cNvSpPr/>
          <p:nvPr/>
        </p:nvSpPr>
        <p:spPr>
          <a:xfrm>
            <a:off x="4125685" y="1222218"/>
            <a:ext cx="5018315" cy="26990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altLang="de-DE" sz="1350" b="0" i="0" u="none" strike="noStrike" kern="120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33CFFF82-1DE1-4847-A9A2-AA670A313F9F}"/>
              </a:ext>
            </a:extLst>
          </p:cNvPr>
          <p:cNvSpPr txBox="1"/>
          <p:nvPr/>
        </p:nvSpPr>
        <p:spPr>
          <a:xfrm>
            <a:off x="4401801" y="1603158"/>
            <a:ext cx="1261564" cy="738664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km-KH" altLang="de-DE" sz="4800" b="0" i="0" u="none" strike="noStrike" kern="0" cap="none" spc="0" normalizeH="0" baseline="0" noProof="0" dirty="0">
                <a:ln>
                  <a:noFill/>
                </a:ln>
                <a:solidFill>
                  <a:srgbClr val="FF560D"/>
                </a:solidFill>
                <a:effectLst/>
                <a:uLnTx/>
                <a:uFillTx/>
                <a:latin typeface="Khmer Moul" panose="02060603050605020204" pitchFamily="18" charset="0"/>
                <a:cs typeface="MoolBoran" panose="020B0100010101010101" pitchFamily="34" charset="0"/>
                <a:sym typeface="Arial"/>
              </a:rPr>
              <a:t>ជំពូកទី</a:t>
            </a:r>
            <a:r>
              <a:rPr lang="en-US" altLang="de-DE" sz="3600" dirty="0">
                <a:solidFill>
                  <a:srgbClr val="FF560D"/>
                </a:solidFill>
                <a:latin typeface="Khmer Moul" panose="02060603050605020204" pitchFamily="18" charset="0"/>
              </a:rPr>
              <a:t>6</a:t>
            </a:r>
            <a:endParaRPr kumimoji="0" lang="de-DE" altLang="de-DE" sz="4800" b="0" i="0" u="none" strike="noStrike" kern="0" cap="none" spc="0" normalizeH="0" baseline="0" noProof="0" dirty="0">
              <a:ln>
                <a:noFill/>
              </a:ln>
              <a:solidFill>
                <a:srgbClr val="FF560D"/>
              </a:solidFill>
              <a:effectLst/>
              <a:uLnTx/>
              <a:uFillTx/>
              <a:latin typeface="Khmer Moul" panose="02060603050605020204" pitchFamily="18" charset="0"/>
              <a:cs typeface="Arial"/>
              <a:sym typeface="Arial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0681B20C-C864-4359-BC1C-DFEC6BA765B5}"/>
              </a:ext>
            </a:extLst>
          </p:cNvPr>
          <p:cNvSpPr txBox="1"/>
          <p:nvPr/>
        </p:nvSpPr>
        <p:spPr>
          <a:xfrm>
            <a:off x="4401801" y="2432347"/>
            <a:ext cx="4233678" cy="738664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km-KH" altLang="de-DE" sz="2400" b="1" kern="1200" noProof="0" dirty="0">
                <a:solidFill>
                  <a:srgbClr val="7F8FA1"/>
                </a:solidFill>
                <a:latin typeface="Ang DaunKeo" panose="020B0503020102020204" pitchFamily="34" charset="0"/>
                <a:ea typeface="+mn-ea"/>
                <a:cs typeface="Ang DaunKeo" panose="020B0503020102020204" pitchFamily="34" charset="0"/>
              </a:rPr>
              <a:t>ការកំណត់ទំហំ </a:t>
            </a:r>
            <a:r>
              <a:rPr lang="en-US" altLang="de-DE" sz="2400" b="1" kern="1200" noProof="0" dirty="0">
                <a:solidFill>
                  <a:srgbClr val="7F8FA1"/>
                </a:solidFill>
                <a:latin typeface="Ang DaunKeo" panose="020B0503020102020204" pitchFamily="34" charset="0"/>
                <a:ea typeface="+mn-ea"/>
                <a:cs typeface="Ang DaunKeo" panose="020B0503020102020204" pitchFamily="34" charset="0"/>
              </a:rPr>
              <a:t>Disk</a:t>
            </a:r>
            <a:r>
              <a:rPr lang="km-KH" altLang="de-DE" sz="2400" b="1" kern="1200" noProof="0" dirty="0">
                <a:solidFill>
                  <a:srgbClr val="7F8FA1"/>
                </a:solidFill>
                <a:latin typeface="Ang DaunKeo" panose="020B0503020102020204" pitchFamily="34" charset="0"/>
                <a:ea typeface="+mn-ea"/>
                <a:cs typeface="Ang DaunKeo" panose="020B0503020102020204" pitchFamily="34" charset="0"/>
              </a:rPr>
              <a:t> សម្រាប់ឲ្យអ្នកប្រើប្រាស់</a:t>
            </a:r>
            <a:endParaRPr kumimoji="0" lang="de-DE" altLang="de-DE" sz="2400" b="0" i="0" u="none" strike="noStrike" kern="1200" cap="none" spc="0" normalizeH="0" baseline="0" noProof="0" dirty="0">
              <a:ln>
                <a:noFill/>
              </a:ln>
              <a:solidFill>
                <a:srgbClr val="7F8FA1"/>
              </a:solidFill>
              <a:effectLst/>
              <a:uLnTx/>
              <a:uFillTx/>
              <a:latin typeface="Segoe UI Semibold"/>
              <a:ea typeface="+mn-ea"/>
              <a:cs typeface="Arial"/>
              <a:sym typeface="Arial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7BBA8877-333B-4EF1-9BEE-07949F45F9CB}"/>
              </a:ext>
            </a:extLst>
          </p:cNvPr>
          <p:cNvSpPr/>
          <p:nvPr/>
        </p:nvSpPr>
        <p:spPr>
          <a:xfrm>
            <a:off x="7612912" y="159488"/>
            <a:ext cx="1297172" cy="824075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702F3712-FEB9-4B25-9CCA-57333719DCD0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81FB21C-6D36-489D-BE4C-9A632A1E6D1F}"/>
              </a:ext>
            </a:extLst>
          </p:cNvPr>
          <p:cNvSpPr/>
          <p:nvPr/>
        </p:nvSpPr>
        <p:spPr>
          <a:xfrm>
            <a:off x="6861336" y="196976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48B81484-FF0E-491D-BCBF-5B0D99465997}"/>
              </a:ext>
            </a:extLst>
          </p:cNvPr>
          <p:cNvSpPr/>
          <p:nvPr/>
        </p:nvSpPr>
        <p:spPr>
          <a:xfrm>
            <a:off x="7169299" y="196976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2D6F514-B63F-412C-9F7A-B6833C88A757}"/>
              </a:ext>
            </a:extLst>
          </p:cNvPr>
          <p:cNvSpPr/>
          <p:nvPr/>
        </p:nvSpPr>
        <p:spPr>
          <a:xfrm>
            <a:off x="7785224" y="196976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07E9025A-5689-4B33-9C77-BBE1D0CDBC7A}"/>
              </a:ext>
            </a:extLst>
          </p:cNvPr>
          <p:cNvSpPr/>
          <p:nvPr/>
        </p:nvSpPr>
        <p:spPr>
          <a:xfrm>
            <a:off x="8093187" y="196976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1D864928-AE55-47DF-8CF2-68A08C93632D}"/>
              </a:ext>
            </a:extLst>
          </p:cNvPr>
          <p:cNvSpPr/>
          <p:nvPr/>
        </p:nvSpPr>
        <p:spPr>
          <a:xfrm>
            <a:off x="8401148" y="196976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FB135538-61F8-4D2E-B058-20CD9BE7177E}"/>
              </a:ext>
            </a:extLst>
          </p:cNvPr>
          <p:cNvSpPr/>
          <p:nvPr/>
        </p:nvSpPr>
        <p:spPr>
          <a:xfrm>
            <a:off x="7477262" y="196976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946869FC-AE69-4EF9-B8E5-F87AA62119D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0330" y="144525"/>
            <a:ext cx="1025765" cy="30151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xmlns="" id="{EA1099BC-90B1-47AF-B314-C536EFF2ED9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1897388" y="107117"/>
            <a:ext cx="387695" cy="395497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2345070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2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2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9" grpId="0"/>
      <p:bldP spid="20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8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983EDB11-5B99-4F09-9BC7-D746870E1C4E}"/>
              </a:ext>
            </a:extLst>
          </p:cNvPr>
          <p:cNvSpPr/>
          <p:nvPr/>
        </p:nvSpPr>
        <p:spPr>
          <a:xfrm>
            <a:off x="874767" y="1533036"/>
            <a:ext cx="3129771" cy="166574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tIns="54864" rIns="54864" bIns="54864" numCol="1" rtlCol="0" anchor="ctr"/>
          <a:lstStyle/>
          <a:p>
            <a:pPr marL="0" marR="0" lvl="0" indent="0" algn="ctr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sz="14925" dirty="0">
                <a:solidFill>
                  <a:srgbClr val="273C75">
                    <a:lumMod val="20000"/>
                    <a:lumOff val="80000"/>
                  </a:srgbClr>
                </a:solidFill>
                <a:latin typeface="សម្រាប់កូនខ្មែរ" panose="02000500000000020004" pitchFamily="2" charset="0"/>
                <a:cs typeface="សម្រាប់កូនខ្មែរ" panose="02000500000000020004" pitchFamily="2" charset="0"/>
              </a:rPr>
              <a:t>6.1</a:t>
            </a:r>
            <a:endParaRPr kumimoji="0" lang="en-US" sz="750" b="0" i="0" u="none" strike="noStrike" kern="0" cap="none" spc="0" normalizeH="0" baseline="0" noProof="0" dirty="0">
              <a:ln>
                <a:noFill/>
              </a:ln>
              <a:solidFill>
                <a:srgbClr val="273C75">
                  <a:lumMod val="20000"/>
                  <a:lumOff val="80000"/>
                </a:srgbClr>
              </a:solidFill>
              <a:effectLst/>
              <a:uLnTx/>
              <a:uFillTx/>
              <a:latin typeface="សម្រាប់កូនខ្មែរ" panose="02000500000000020004" pitchFamily="2" charset="0"/>
              <a:ea typeface="+mn-ea"/>
              <a:cs typeface="សម្រាប់កូនខ្មែរ" panose="02000500000000020004" pitchFamily="2" charset="0"/>
              <a:sym typeface="Arial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CA0D9CDC-ABFA-43C8-8F37-F5B8682C8A96}"/>
              </a:ext>
            </a:extLst>
          </p:cNvPr>
          <p:cNvSpPr/>
          <p:nvPr/>
        </p:nvSpPr>
        <p:spPr>
          <a:xfrm>
            <a:off x="4025398" y="1478151"/>
            <a:ext cx="4143126" cy="19485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altLang="de-DE" sz="1350" b="0" i="0" u="none" strike="noStrike" kern="120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72BA5E31-8C76-4878-8E9A-40C31B4AFA64}"/>
              </a:ext>
            </a:extLst>
          </p:cNvPr>
          <p:cNvSpPr/>
          <p:nvPr/>
        </p:nvSpPr>
        <p:spPr>
          <a:xfrm>
            <a:off x="4125685" y="1222218"/>
            <a:ext cx="5018315" cy="26990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altLang="de-DE" sz="1350" b="0" i="0" u="none" strike="noStrike" kern="120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33CFFF82-1DE1-4847-A9A2-AA670A313F9F}"/>
              </a:ext>
            </a:extLst>
          </p:cNvPr>
          <p:cNvSpPr txBox="1"/>
          <p:nvPr/>
        </p:nvSpPr>
        <p:spPr>
          <a:xfrm>
            <a:off x="4401801" y="1603158"/>
            <a:ext cx="1261564" cy="738664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km-KH" altLang="de-DE" sz="4800" b="0" i="0" u="none" strike="noStrike" kern="0" cap="none" spc="0" normalizeH="0" baseline="0" noProof="0" dirty="0">
                <a:ln>
                  <a:noFill/>
                </a:ln>
                <a:solidFill>
                  <a:srgbClr val="FF560D"/>
                </a:solidFill>
                <a:effectLst/>
                <a:uLnTx/>
                <a:uFillTx/>
                <a:latin typeface="Khmer Moul" panose="02060603050605020204" pitchFamily="18" charset="0"/>
                <a:cs typeface="MoolBoran" panose="020B0100010101010101" pitchFamily="34" charset="0"/>
                <a:sym typeface="Arial"/>
              </a:rPr>
              <a:t>ជំពូកទី</a:t>
            </a:r>
            <a:r>
              <a:rPr lang="en-US" altLang="de-DE" sz="3600" dirty="0">
                <a:solidFill>
                  <a:srgbClr val="FF560D"/>
                </a:solidFill>
                <a:latin typeface="Khmer Moul" panose="02060603050605020204" pitchFamily="18" charset="0"/>
              </a:rPr>
              <a:t>6</a:t>
            </a:r>
            <a:endParaRPr kumimoji="0" lang="de-DE" altLang="de-DE" sz="4800" b="0" i="0" u="none" strike="noStrike" kern="0" cap="none" spc="0" normalizeH="0" baseline="0" noProof="0" dirty="0">
              <a:ln>
                <a:noFill/>
              </a:ln>
              <a:solidFill>
                <a:srgbClr val="FF560D"/>
              </a:solidFill>
              <a:effectLst/>
              <a:uLnTx/>
              <a:uFillTx/>
              <a:latin typeface="Khmer Moul" panose="02060603050605020204" pitchFamily="18" charset="0"/>
              <a:cs typeface="Arial"/>
              <a:sym typeface="Arial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0681B20C-C864-4359-BC1C-DFEC6BA765B5}"/>
              </a:ext>
            </a:extLst>
          </p:cNvPr>
          <p:cNvSpPr txBox="1"/>
          <p:nvPr/>
        </p:nvSpPr>
        <p:spPr>
          <a:xfrm>
            <a:off x="4401801" y="2597755"/>
            <a:ext cx="4233678" cy="369332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lvl="0" defTabSz="685800">
              <a:buClrTx/>
            </a:pPr>
            <a:r>
              <a:rPr lang="km-KH" altLang="de-DE" sz="2400" b="1" kern="1200" dirty="0">
                <a:solidFill>
                  <a:srgbClr val="7F8FA1"/>
                </a:solidFill>
                <a:latin typeface="Ang DaunKeo" panose="020B0503020102020204" pitchFamily="34" charset="0"/>
                <a:ea typeface="+mn-ea"/>
                <a:cs typeface="Ang DaunKeo" panose="020B0503020102020204" pitchFamily="34" charset="0"/>
              </a:rPr>
              <a:t>ការកំណត់ទំហំ </a:t>
            </a:r>
            <a:r>
              <a:rPr lang="en-US" altLang="de-DE" sz="2400" b="1" kern="1200" dirty="0">
                <a:solidFill>
                  <a:srgbClr val="7F8FA1"/>
                </a:solidFill>
                <a:latin typeface="Ang DaunKeo" panose="020B0503020102020204" pitchFamily="34" charset="0"/>
                <a:ea typeface="+mn-ea"/>
                <a:cs typeface="Ang DaunKeo" panose="020B0503020102020204" pitchFamily="34" charset="0"/>
              </a:rPr>
              <a:t>Disk</a:t>
            </a:r>
            <a:endParaRPr kumimoji="0" lang="de-DE" altLang="de-DE" sz="2400" b="0" i="0" u="none" strike="noStrike" kern="1200" cap="none" spc="0" normalizeH="0" baseline="0" noProof="0" dirty="0">
              <a:ln>
                <a:noFill/>
              </a:ln>
              <a:solidFill>
                <a:srgbClr val="7F8FA1"/>
              </a:solidFill>
              <a:effectLst/>
              <a:uLnTx/>
              <a:uFillTx/>
              <a:latin typeface="Segoe UI Semibold"/>
              <a:ea typeface="+mn-ea"/>
              <a:cs typeface="Arial"/>
              <a:sym typeface="Arial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8B5785E6-BDF3-4487-ADC6-92EC655C3CF8}"/>
              </a:ext>
            </a:extLst>
          </p:cNvPr>
          <p:cNvSpPr/>
          <p:nvPr/>
        </p:nvSpPr>
        <p:spPr>
          <a:xfrm>
            <a:off x="7612912" y="159488"/>
            <a:ext cx="1297172" cy="824075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61C2F51F-16FB-4792-B9ED-18840F5599B4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3B2902EB-80AC-48E6-A835-2F007D9C68AE}"/>
              </a:ext>
            </a:extLst>
          </p:cNvPr>
          <p:cNvSpPr/>
          <p:nvPr/>
        </p:nvSpPr>
        <p:spPr>
          <a:xfrm>
            <a:off x="6861336" y="196976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151BA7B5-6534-46E0-9E27-DE223A119ED0}"/>
              </a:ext>
            </a:extLst>
          </p:cNvPr>
          <p:cNvSpPr/>
          <p:nvPr/>
        </p:nvSpPr>
        <p:spPr>
          <a:xfrm>
            <a:off x="7169299" y="196976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2F7DEA35-6BAE-41A4-8F63-6576C6F934FC}"/>
              </a:ext>
            </a:extLst>
          </p:cNvPr>
          <p:cNvSpPr/>
          <p:nvPr/>
        </p:nvSpPr>
        <p:spPr>
          <a:xfrm>
            <a:off x="7785224" y="196976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E2C5FB52-BECF-4582-93DF-680DD9F57D1B}"/>
              </a:ext>
            </a:extLst>
          </p:cNvPr>
          <p:cNvSpPr/>
          <p:nvPr/>
        </p:nvSpPr>
        <p:spPr>
          <a:xfrm>
            <a:off x="8093187" y="196976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7CAEF384-33E9-431E-94C5-95DB36F63133}"/>
              </a:ext>
            </a:extLst>
          </p:cNvPr>
          <p:cNvSpPr/>
          <p:nvPr/>
        </p:nvSpPr>
        <p:spPr>
          <a:xfrm>
            <a:off x="8401148" y="196976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EDD62AC0-3858-4C2A-A718-F8EF5857531A}"/>
              </a:ext>
            </a:extLst>
          </p:cNvPr>
          <p:cNvSpPr/>
          <p:nvPr/>
        </p:nvSpPr>
        <p:spPr>
          <a:xfrm>
            <a:off x="7477262" y="196976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1B207121-557B-4FE3-913D-9CE78877780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0330" y="144525"/>
            <a:ext cx="1025765" cy="30151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xmlns="" id="{A472D5AD-6F7E-4D9B-A515-AAFE0A4AB89B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1897388" y="107117"/>
            <a:ext cx="387695" cy="395497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68472821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2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2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9" grpId="0"/>
      <p:bldP spid="20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2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0FC3722-8F96-43A5-A133-2ADF5CE88875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xmlns="" id="{475343A4-333F-4558-9B30-BC15AAB1A318}"/>
              </a:ext>
            </a:extLst>
          </p:cNvPr>
          <p:cNvSpPr/>
          <p:nvPr/>
        </p:nvSpPr>
        <p:spPr>
          <a:xfrm>
            <a:off x="-50782" y="1"/>
            <a:ext cx="11302409" cy="519489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xmlns="" id="{925C2EED-F692-4F64-B5C8-DBB35B8EAE13}"/>
              </a:ext>
            </a:extLst>
          </p:cNvPr>
          <p:cNvSpPr/>
          <p:nvPr/>
        </p:nvSpPr>
        <p:spPr>
          <a:xfrm>
            <a:off x="4762" y="66454"/>
            <a:ext cx="11191322" cy="507704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xmlns="" id="{BE6E1CF5-59DA-43AB-9866-0328CF12083B}"/>
              </a:ext>
            </a:extLst>
          </p:cNvPr>
          <p:cNvSpPr/>
          <p:nvPr/>
        </p:nvSpPr>
        <p:spPr>
          <a:xfrm>
            <a:off x="-3" y="127067"/>
            <a:ext cx="11111023" cy="4949979"/>
          </a:xfrm>
          <a:prstGeom prst="homePlat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xmlns="" id="{5386A08B-7D7F-47E3-92B0-DE14688643F9}"/>
              </a:ext>
            </a:extLst>
          </p:cNvPr>
          <p:cNvSpPr/>
          <p:nvPr/>
        </p:nvSpPr>
        <p:spPr>
          <a:xfrm>
            <a:off x="-55546" y="152763"/>
            <a:ext cx="11111023" cy="4889366"/>
          </a:xfrm>
          <a:prstGeom prst="homePlat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1">
              <a:lnSpc>
                <a:spcPct val="150000"/>
              </a:lnSpc>
            </a:pPr>
            <a:endParaRPr lang="en-US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lvl="1">
              <a:lnSpc>
                <a:spcPct val="150000"/>
              </a:lnSpc>
            </a:pPr>
            <a:endParaRPr lang="en-US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lvl="1">
              <a:lnSpc>
                <a:spcPct val="150000"/>
              </a:lnSpc>
            </a:pPr>
            <a:endParaRPr lang="en-US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lvl="1">
              <a:lnSpc>
                <a:spcPct val="150000"/>
              </a:lnSpc>
            </a:pPr>
            <a:endParaRPr lang="en-US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lvl="1"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r>
              <a:rPr lang="km-KH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ចំពោះប្រព័ន្ធដែលអ្នកប្រើប្រាស់ច្រើននាក់ ការកំណត់ 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Disk quota</a:t>
            </a:r>
            <a:r>
              <a:rPr lang="km-KH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ឲ្យអ្នកប្រើប្រាស់មានសារៈសំខាន់ណាស់ពីព្រោះ</a:t>
            </a:r>
            <a:endParaRPr lang="en-US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lvl="1"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r>
              <a:rPr lang="km-KH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ថាវាបានកំណត់ទំហំ 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Hard disk </a:t>
            </a:r>
            <a:r>
              <a:rPr lang="km-KH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ឲ្យអ្នកប្រើប្រាស់ទៅតាមតម្រូវការហើយជៀសវាងការធ្វើឲ្យពេញនៃ 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Hard disk </a:t>
            </a:r>
            <a:r>
              <a:rPr lang="km-KH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។</a:t>
            </a:r>
          </a:p>
          <a:p>
            <a:pPr lvl="1">
              <a:lnSpc>
                <a:spcPct val="150000"/>
              </a:lnSpc>
            </a:pPr>
            <a:endParaRPr lang="en-US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1A6F54B5-0441-4560-B588-51F6748A10E7}"/>
              </a:ext>
            </a:extLst>
          </p:cNvPr>
          <p:cNvSpPr/>
          <p:nvPr/>
        </p:nvSpPr>
        <p:spPr>
          <a:xfrm>
            <a:off x="853933" y="303302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E76D8363-97F8-4D84-B055-4CAB5AF1B9B9}"/>
              </a:ext>
            </a:extLst>
          </p:cNvPr>
          <p:cNvSpPr/>
          <p:nvPr/>
        </p:nvSpPr>
        <p:spPr>
          <a:xfrm>
            <a:off x="1161896" y="303302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E1E5901C-75B9-4255-B79F-AFC39A71CB5A}"/>
              </a:ext>
            </a:extLst>
          </p:cNvPr>
          <p:cNvSpPr/>
          <p:nvPr/>
        </p:nvSpPr>
        <p:spPr>
          <a:xfrm>
            <a:off x="1777821" y="303302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5B68763A-C0FE-4288-99F2-5FD3D1D6259F}"/>
              </a:ext>
            </a:extLst>
          </p:cNvPr>
          <p:cNvSpPr/>
          <p:nvPr/>
        </p:nvSpPr>
        <p:spPr>
          <a:xfrm>
            <a:off x="2085784" y="303302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36678E34-C42F-4272-A80C-040E642AF4BE}"/>
              </a:ext>
            </a:extLst>
          </p:cNvPr>
          <p:cNvSpPr/>
          <p:nvPr/>
        </p:nvSpPr>
        <p:spPr>
          <a:xfrm>
            <a:off x="2393745" y="303302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12996ED4-A971-4578-B5CD-3D91B7A50B7D}"/>
              </a:ext>
            </a:extLst>
          </p:cNvPr>
          <p:cNvSpPr/>
          <p:nvPr/>
        </p:nvSpPr>
        <p:spPr>
          <a:xfrm>
            <a:off x="1469859" y="303302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xmlns="" id="{F4FC888B-7FCA-46F6-B3EA-F5E5A44DE1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03568" y="250851"/>
            <a:ext cx="1025765" cy="301519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xmlns="" id="{3AF8591F-F851-4C72-BCB4-63E779F403D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8170626" y="213443"/>
            <a:ext cx="387695" cy="395497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323922793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6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983EDB11-5B99-4F09-9BC7-D746870E1C4E}"/>
              </a:ext>
            </a:extLst>
          </p:cNvPr>
          <p:cNvSpPr/>
          <p:nvPr/>
        </p:nvSpPr>
        <p:spPr>
          <a:xfrm>
            <a:off x="874767" y="1533036"/>
            <a:ext cx="3129771" cy="166574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tIns="54864" rIns="54864" bIns="54864" numCol="1" rtlCol="0" anchor="ctr"/>
          <a:lstStyle/>
          <a:p>
            <a:pPr marL="0" marR="0" lvl="0" indent="0" algn="ctr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925" b="0" i="0" u="none" strike="noStrike" kern="0" cap="none" spc="0" normalizeH="0" baseline="0" noProof="0" dirty="0">
                <a:ln>
                  <a:noFill/>
                </a:ln>
                <a:solidFill>
                  <a:srgbClr val="273C75">
                    <a:lumMod val="20000"/>
                    <a:lumOff val="80000"/>
                  </a:srgbClr>
                </a:solidFill>
                <a:effectLst/>
                <a:uLnTx/>
                <a:uFillTx/>
                <a:latin typeface="សម្រាប់កូនខ្មែរ" panose="02000500000000020004" pitchFamily="2" charset="0"/>
                <a:ea typeface="+mn-ea"/>
                <a:cs typeface="សម្រាប់កូនខ្មែរ" panose="02000500000000020004" pitchFamily="2" charset="0"/>
                <a:sym typeface="Arial"/>
              </a:rPr>
              <a:t>6.2</a:t>
            </a:r>
            <a:endParaRPr kumimoji="0" lang="en-US" sz="750" b="0" i="0" u="none" strike="noStrike" kern="0" cap="none" spc="0" normalizeH="0" baseline="0" noProof="0" dirty="0">
              <a:ln>
                <a:noFill/>
              </a:ln>
              <a:solidFill>
                <a:srgbClr val="273C75">
                  <a:lumMod val="20000"/>
                  <a:lumOff val="80000"/>
                </a:srgbClr>
              </a:solidFill>
              <a:effectLst/>
              <a:uLnTx/>
              <a:uFillTx/>
              <a:latin typeface="សម្រាប់កូនខ្មែរ" panose="02000500000000020004" pitchFamily="2" charset="0"/>
              <a:ea typeface="+mn-ea"/>
              <a:cs typeface="សម្រាប់កូនខ្មែរ" panose="02000500000000020004" pitchFamily="2" charset="0"/>
              <a:sym typeface="Arial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CA0D9CDC-ABFA-43C8-8F37-F5B8682C8A96}"/>
              </a:ext>
            </a:extLst>
          </p:cNvPr>
          <p:cNvSpPr/>
          <p:nvPr/>
        </p:nvSpPr>
        <p:spPr>
          <a:xfrm>
            <a:off x="4025398" y="1478151"/>
            <a:ext cx="4143126" cy="19485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altLang="de-DE" sz="1350" b="0" i="0" u="none" strike="noStrike" kern="120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72BA5E31-8C76-4878-8E9A-40C31B4AFA64}"/>
              </a:ext>
            </a:extLst>
          </p:cNvPr>
          <p:cNvSpPr/>
          <p:nvPr/>
        </p:nvSpPr>
        <p:spPr>
          <a:xfrm>
            <a:off x="4125685" y="1222218"/>
            <a:ext cx="5018315" cy="26990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altLang="de-DE" sz="1350" b="0" i="0" u="none" strike="noStrike" kern="120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33CFFF82-1DE1-4847-A9A2-AA670A313F9F}"/>
              </a:ext>
            </a:extLst>
          </p:cNvPr>
          <p:cNvSpPr txBox="1"/>
          <p:nvPr/>
        </p:nvSpPr>
        <p:spPr>
          <a:xfrm>
            <a:off x="4401801" y="1603158"/>
            <a:ext cx="1261564" cy="738664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km-KH" altLang="de-DE" sz="4800" b="0" i="0" u="none" strike="noStrike" kern="0" cap="none" spc="0" normalizeH="0" baseline="0" noProof="0" dirty="0">
                <a:ln>
                  <a:noFill/>
                </a:ln>
                <a:solidFill>
                  <a:srgbClr val="FF560D"/>
                </a:solidFill>
                <a:effectLst/>
                <a:uLnTx/>
                <a:uFillTx/>
                <a:latin typeface="Khmer Moul" panose="02060603050605020204" pitchFamily="18" charset="0"/>
                <a:cs typeface="MoolBoran" panose="020B0100010101010101" pitchFamily="34" charset="0"/>
                <a:sym typeface="Arial"/>
              </a:rPr>
              <a:t>ជំពូកទី</a:t>
            </a:r>
            <a:r>
              <a:rPr kumimoji="0" lang="en-US" altLang="de-DE" sz="3600" b="0" i="0" u="none" strike="noStrike" kern="0" cap="none" spc="0" normalizeH="0" baseline="0" noProof="0" dirty="0">
                <a:ln>
                  <a:noFill/>
                </a:ln>
                <a:solidFill>
                  <a:srgbClr val="FF560D"/>
                </a:solidFill>
                <a:effectLst/>
                <a:uLnTx/>
                <a:uFillTx/>
                <a:latin typeface="Khmer Moul" panose="02060603050605020204" pitchFamily="18" charset="0"/>
                <a:cs typeface="Arial"/>
                <a:sym typeface="Arial"/>
              </a:rPr>
              <a:t>6</a:t>
            </a:r>
            <a:endParaRPr kumimoji="0" lang="de-DE" altLang="de-DE" sz="4800" b="0" i="0" u="none" strike="noStrike" kern="0" cap="none" spc="0" normalizeH="0" baseline="0" noProof="0" dirty="0">
              <a:ln>
                <a:noFill/>
              </a:ln>
              <a:solidFill>
                <a:srgbClr val="FF560D"/>
              </a:solidFill>
              <a:effectLst/>
              <a:uLnTx/>
              <a:uFillTx/>
              <a:latin typeface="Khmer Moul" panose="02060603050605020204" pitchFamily="18" charset="0"/>
              <a:cs typeface="Arial"/>
              <a:sym typeface="Arial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0681B20C-C864-4359-BC1C-DFEC6BA765B5}"/>
              </a:ext>
            </a:extLst>
          </p:cNvPr>
          <p:cNvSpPr txBox="1"/>
          <p:nvPr/>
        </p:nvSpPr>
        <p:spPr>
          <a:xfrm>
            <a:off x="4401801" y="2597755"/>
            <a:ext cx="4233678" cy="369332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lvl="0" defTabSz="685800">
              <a:buClrTx/>
            </a:pPr>
            <a:r>
              <a:rPr lang="km-KH" altLang="de-DE" sz="2400" b="1" kern="1200" dirty="0">
                <a:solidFill>
                  <a:srgbClr val="7F8FA1"/>
                </a:solidFill>
                <a:latin typeface="Ang DaunKeo" panose="020B0503020102020204" pitchFamily="34" charset="0"/>
                <a:ea typeface="+mn-ea"/>
                <a:cs typeface="Ang DaunKeo" panose="020B0503020102020204" pitchFamily="34" charset="0"/>
              </a:rPr>
              <a:t>ការអនុវត្ត​ </a:t>
            </a:r>
            <a:r>
              <a:rPr lang="en-US" altLang="de-DE" sz="2400" b="1" kern="1200" dirty="0">
                <a:solidFill>
                  <a:srgbClr val="7F8FA1"/>
                </a:solidFill>
                <a:latin typeface="Ang DaunKeo" panose="020B0503020102020204" pitchFamily="34" charset="0"/>
                <a:ea typeface="+mn-ea"/>
                <a:cs typeface="Ang DaunKeo" panose="020B0503020102020204" pitchFamily="34" charset="0"/>
              </a:rPr>
              <a:t>Quota</a:t>
            </a:r>
            <a:endParaRPr kumimoji="0" lang="de-DE" altLang="de-DE" sz="2400" b="0" i="0" u="none" strike="noStrike" kern="1200" cap="none" spc="0" normalizeH="0" baseline="0" noProof="0" dirty="0">
              <a:ln>
                <a:noFill/>
              </a:ln>
              <a:solidFill>
                <a:srgbClr val="7F8FA1"/>
              </a:solidFill>
              <a:effectLst/>
              <a:uLnTx/>
              <a:uFillTx/>
              <a:latin typeface="Segoe UI Semibold"/>
              <a:ea typeface="+mn-ea"/>
              <a:cs typeface="Arial"/>
              <a:sym typeface="Arial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BEA80474-1705-48FE-A2F9-4DC626571BDE}"/>
              </a:ext>
            </a:extLst>
          </p:cNvPr>
          <p:cNvSpPr/>
          <p:nvPr/>
        </p:nvSpPr>
        <p:spPr>
          <a:xfrm>
            <a:off x="7612912" y="159488"/>
            <a:ext cx="1297172" cy="824075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83F79821-7E6F-4035-8B9D-71B5D447D660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DD13A439-7E5E-4DC9-9B90-3E92547B6F2C}"/>
              </a:ext>
            </a:extLst>
          </p:cNvPr>
          <p:cNvSpPr/>
          <p:nvPr/>
        </p:nvSpPr>
        <p:spPr>
          <a:xfrm>
            <a:off x="6861336" y="196976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4FB364C1-6158-4B5E-B852-8D368D6F1E4E}"/>
              </a:ext>
            </a:extLst>
          </p:cNvPr>
          <p:cNvSpPr/>
          <p:nvPr/>
        </p:nvSpPr>
        <p:spPr>
          <a:xfrm>
            <a:off x="7169299" y="196976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56914B87-F394-457B-9210-76598B447F6C}"/>
              </a:ext>
            </a:extLst>
          </p:cNvPr>
          <p:cNvSpPr/>
          <p:nvPr/>
        </p:nvSpPr>
        <p:spPr>
          <a:xfrm>
            <a:off x="7785224" y="196976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64D0AEFE-8BE6-4887-9E67-20E1CA70D084}"/>
              </a:ext>
            </a:extLst>
          </p:cNvPr>
          <p:cNvSpPr/>
          <p:nvPr/>
        </p:nvSpPr>
        <p:spPr>
          <a:xfrm>
            <a:off x="8093187" y="196976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9762DF03-7594-45FE-A450-CB16BE07C44A}"/>
              </a:ext>
            </a:extLst>
          </p:cNvPr>
          <p:cNvSpPr/>
          <p:nvPr/>
        </p:nvSpPr>
        <p:spPr>
          <a:xfrm>
            <a:off x="8401148" y="196976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04AC4763-E29B-4D3C-A342-496038C47321}"/>
              </a:ext>
            </a:extLst>
          </p:cNvPr>
          <p:cNvSpPr/>
          <p:nvPr/>
        </p:nvSpPr>
        <p:spPr>
          <a:xfrm>
            <a:off x="7477262" y="196976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E98A43C2-AF53-43F7-9290-5241754B359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0330" y="144525"/>
            <a:ext cx="1025765" cy="30151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xmlns="" id="{EC3F982A-93F8-45F2-B18C-50067DA2B9C9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1897388" y="107117"/>
            <a:ext cx="387695" cy="395497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71823504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2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2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9" grpId="0"/>
      <p:bldP spid="20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0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0FC3722-8F96-43A5-A133-2ADF5CE88875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xmlns="" id="{475343A4-333F-4558-9B30-BC15AAB1A318}"/>
              </a:ext>
            </a:extLst>
          </p:cNvPr>
          <p:cNvSpPr/>
          <p:nvPr/>
        </p:nvSpPr>
        <p:spPr>
          <a:xfrm>
            <a:off x="-50782" y="1"/>
            <a:ext cx="11302409" cy="519489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xmlns="" id="{925C2EED-F692-4F64-B5C8-DBB35B8EAE13}"/>
              </a:ext>
            </a:extLst>
          </p:cNvPr>
          <p:cNvSpPr/>
          <p:nvPr/>
        </p:nvSpPr>
        <p:spPr>
          <a:xfrm>
            <a:off x="-55546" y="66454"/>
            <a:ext cx="11251630" cy="507704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xmlns="" id="{BE6E1CF5-59DA-43AB-9866-0328CF12083B}"/>
              </a:ext>
            </a:extLst>
          </p:cNvPr>
          <p:cNvSpPr/>
          <p:nvPr/>
        </p:nvSpPr>
        <p:spPr>
          <a:xfrm>
            <a:off x="-3" y="127067"/>
            <a:ext cx="11111023" cy="4949979"/>
          </a:xfrm>
          <a:prstGeom prst="homePlat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xmlns="" id="{5386A08B-7D7F-47E3-92B0-DE14688643F9}"/>
              </a:ext>
            </a:extLst>
          </p:cNvPr>
          <p:cNvSpPr/>
          <p:nvPr/>
        </p:nvSpPr>
        <p:spPr>
          <a:xfrm>
            <a:off x="-74428" y="152763"/>
            <a:ext cx="11129905" cy="4889366"/>
          </a:xfrm>
          <a:prstGeom prst="homePlat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endParaRPr lang="en-US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endParaRPr lang="en-US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*Quota </a:t>
            </a:r>
            <a:r>
              <a:rPr lang="km-KH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គឺជាអ្វីដែលអ្នកគ្រប់គ្រងប្រព័ន្ធទាំងអស់ប្រើដើម្បីគ្រប់គ្រងទំហំ 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Disk </a:t>
            </a:r>
            <a:r>
              <a:rPr lang="km-KH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ដែលប្រើប្រាស់នៅលើម៉ាស៊ីនមេដោយ</a:t>
            </a:r>
            <a:endParaRPr lang="en-US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r>
              <a:rPr lang="km-KH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អ្នកប្រើប្រាស់ម្នាក់ឬក្រុមនិងកំណត់លើការប្រើប្រាស់ទំហំផ្ទុក។ យើងអាចកំណត់​ 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Quota​​ </a:t>
            </a:r>
            <a:r>
              <a:rPr lang="km-KH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ឲ្យក្រុម​​អ្នកប្រើប្រាស់​​​ ឬអាច</a:t>
            </a:r>
            <a:endParaRPr lang="en-US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r>
              <a:rPr lang="km-KH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កំណត់ឲ្យអ្នកប្រើប្រាស់ម្នាក់ៗបានដោយប្រើ​ 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GID​</a:t>
            </a:r>
            <a:r>
              <a:rPr lang="km-KH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។ </a:t>
            </a:r>
            <a:endParaRPr lang="en-US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endParaRPr lang="en-US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r>
              <a:rPr lang="km-KH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ដូច្នេះវាជួយពួកគេគ្រប់គ្រងការប្រើប្រាស់ទំហំ 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Disk </a:t>
            </a:r>
            <a:r>
              <a:rPr lang="km-KH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នៅលើប្រព័ន្ធ។</a:t>
            </a:r>
          </a:p>
          <a:p>
            <a:endParaRPr lang="en-US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r>
              <a:rPr lang="km-KH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*ដើម្បីគ្រប់គ្រងលើ​ 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Disk Quota​​ </a:t>
            </a:r>
            <a:r>
              <a:rPr lang="km-KH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យើងត្រូវប្រើពាក្យបញ្ជាដូចជា:</a:t>
            </a:r>
            <a:endParaRPr lang="en-US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endParaRPr lang="en-US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		- quota: </a:t>
            </a:r>
            <a:r>
              <a:rPr lang="km-KH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សម្រាប់បង្ហាញព័ត៌មានពី​​ 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disk quota</a:t>
            </a:r>
          </a:p>
          <a:p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Example: 	</a:t>
            </a:r>
            <a:r>
              <a:rPr lang="en-US" i="1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quota​ username (to display default user quota)</a:t>
            </a:r>
          </a:p>
          <a:p>
            <a:pPr lvl="1"/>
            <a:r>
              <a:rPr lang="en-US" i="1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	quota -u (to display root user quota)</a:t>
            </a:r>
          </a:p>
          <a:p>
            <a:pPr lvl="1"/>
            <a:endParaRPr lang="en-US" i="1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lvl="1"/>
            <a:r>
              <a:rPr lang="en-US" i="1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  		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- </a:t>
            </a:r>
            <a:r>
              <a:rPr lang="en-US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quotaon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: </a:t>
            </a:r>
            <a:r>
              <a:rPr lang="km-KH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សម្រាប់បើកនឹងកំណត់​ 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disk quota​ </a:t>
            </a:r>
            <a:r>
              <a:rPr lang="km-KH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ឲ្យអ្នកប្រើប្រាស់</a:t>
            </a:r>
            <a:endParaRPr lang="en-US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lvl="1"/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Example:	</a:t>
            </a:r>
            <a:r>
              <a:rPr lang="en-US" i="1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quotaon</a:t>
            </a:r>
            <a:r>
              <a:rPr lang="en-US" i="1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-a (to enable user and group quotas for all file systems)</a:t>
            </a:r>
          </a:p>
          <a:p>
            <a:pPr lvl="1"/>
            <a:endParaRPr lang="en-US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lvl="1"/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                    - </a:t>
            </a:r>
            <a:r>
              <a:rPr lang="en-US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repquota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: </a:t>
            </a:r>
            <a:r>
              <a:rPr lang="km-KH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សម្រាប់បង្ហាញពី​ 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Quota </a:t>
            </a:r>
            <a:r>
              <a:rPr lang="km-KH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ដែលមាន</a:t>
            </a:r>
            <a:endParaRPr lang="en-US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lvl="1"/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Example:	</a:t>
            </a:r>
            <a:r>
              <a:rPr lang="en-US" i="1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repquota</a:t>
            </a:r>
            <a:r>
              <a:rPr lang="en-US" i="1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-u (to print a summary of user quotas in the file system)</a:t>
            </a:r>
            <a:endParaRPr lang="en-US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1A6F54B5-0441-4560-B588-51F6748A10E7}"/>
              </a:ext>
            </a:extLst>
          </p:cNvPr>
          <p:cNvSpPr/>
          <p:nvPr/>
        </p:nvSpPr>
        <p:spPr>
          <a:xfrm>
            <a:off x="853933" y="303302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E76D8363-97F8-4D84-B055-4CAB5AF1B9B9}"/>
              </a:ext>
            </a:extLst>
          </p:cNvPr>
          <p:cNvSpPr/>
          <p:nvPr/>
        </p:nvSpPr>
        <p:spPr>
          <a:xfrm>
            <a:off x="1161896" y="303302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E1E5901C-75B9-4255-B79F-AFC39A71CB5A}"/>
              </a:ext>
            </a:extLst>
          </p:cNvPr>
          <p:cNvSpPr/>
          <p:nvPr/>
        </p:nvSpPr>
        <p:spPr>
          <a:xfrm>
            <a:off x="1777821" y="303302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5B68763A-C0FE-4288-99F2-5FD3D1D6259F}"/>
              </a:ext>
            </a:extLst>
          </p:cNvPr>
          <p:cNvSpPr/>
          <p:nvPr/>
        </p:nvSpPr>
        <p:spPr>
          <a:xfrm>
            <a:off x="2085784" y="303302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36678E34-C42F-4272-A80C-040E642AF4BE}"/>
              </a:ext>
            </a:extLst>
          </p:cNvPr>
          <p:cNvSpPr/>
          <p:nvPr/>
        </p:nvSpPr>
        <p:spPr>
          <a:xfrm>
            <a:off x="2393745" y="303302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12996ED4-A971-4578-B5CD-3D91B7A50B7D}"/>
              </a:ext>
            </a:extLst>
          </p:cNvPr>
          <p:cNvSpPr/>
          <p:nvPr/>
        </p:nvSpPr>
        <p:spPr>
          <a:xfrm>
            <a:off x="1469859" y="303302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xmlns="" id="{F4FC888B-7FCA-46F6-B3EA-F5E5A44DE1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03568" y="250851"/>
            <a:ext cx="1025765" cy="301519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xmlns="" id="{3AF8591F-F851-4C72-BCB4-63E779F403D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8170626" y="213443"/>
            <a:ext cx="387695" cy="395497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893428683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4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983EDB11-5B99-4F09-9BC7-D746870E1C4E}"/>
              </a:ext>
            </a:extLst>
          </p:cNvPr>
          <p:cNvSpPr/>
          <p:nvPr/>
        </p:nvSpPr>
        <p:spPr>
          <a:xfrm>
            <a:off x="874767" y="1533036"/>
            <a:ext cx="3129771" cy="166574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tIns="54864" rIns="54864" bIns="54864" numCol="1" rtlCol="0" anchor="ctr"/>
          <a:lstStyle/>
          <a:p>
            <a:pPr lvl="0" algn="ctr" defTabSz="685800">
              <a:lnSpc>
                <a:spcPct val="150000"/>
              </a:lnSpc>
              <a:buClrTx/>
              <a:defRPr/>
            </a:pPr>
            <a:r>
              <a:rPr lang="en-US" sz="14925" dirty="0">
                <a:solidFill>
                  <a:srgbClr val="273C75">
                    <a:lumMod val="20000"/>
                    <a:lumOff val="80000"/>
                  </a:srgbClr>
                </a:solidFill>
                <a:latin typeface="សម្រាប់កូនខ្មែរ" panose="02000500000000020004" pitchFamily="2" charset="0"/>
                <a:cs typeface="សម្រាប់កូនខ្មែរ" panose="02000500000000020004" pitchFamily="2" charset="0"/>
              </a:rPr>
              <a:t>6.3</a:t>
            </a:r>
            <a:endParaRPr lang="en-US" sz="750" dirty="0">
              <a:solidFill>
                <a:srgbClr val="273C75">
                  <a:lumMod val="20000"/>
                  <a:lumOff val="80000"/>
                </a:srgbClr>
              </a:solidFill>
              <a:latin typeface="សម្រាប់កូនខ្មែរ" panose="02000500000000020004" pitchFamily="2" charset="0"/>
              <a:cs typeface="សម្រាប់កូនខ្មែរ" panose="02000500000000020004" pitchFamily="2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CA0D9CDC-ABFA-43C8-8F37-F5B8682C8A96}"/>
              </a:ext>
            </a:extLst>
          </p:cNvPr>
          <p:cNvSpPr/>
          <p:nvPr/>
        </p:nvSpPr>
        <p:spPr>
          <a:xfrm>
            <a:off x="4025398" y="1478151"/>
            <a:ext cx="4143126" cy="19485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altLang="de-DE" sz="1350" b="0" i="0" u="none" strike="noStrike" kern="120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72BA5E31-8C76-4878-8E9A-40C31B4AFA64}"/>
              </a:ext>
            </a:extLst>
          </p:cNvPr>
          <p:cNvSpPr/>
          <p:nvPr/>
        </p:nvSpPr>
        <p:spPr>
          <a:xfrm>
            <a:off x="4125685" y="1222218"/>
            <a:ext cx="5018315" cy="26990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altLang="de-DE" sz="1350" b="0" i="0" u="none" strike="noStrike" kern="120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33CFFF82-1DE1-4847-A9A2-AA670A313F9F}"/>
              </a:ext>
            </a:extLst>
          </p:cNvPr>
          <p:cNvSpPr txBox="1"/>
          <p:nvPr/>
        </p:nvSpPr>
        <p:spPr>
          <a:xfrm>
            <a:off x="4401801" y="1603158"/>
            <a:ext cx="1261564" cy="738664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km-KH" altLang="de-DE" sz="4800" b="0" i="0" u="none" strike="noStrike" kern="0" cap="none" spc="0" normalizeH="0" baseline="0" noProof="0" dirty="0">
                <a:ln>
                  <a:noFill/>
                </a:ln>
                <a:solidFill>
                  <a:srgbClr val="FF560D"/>
                </a:solidFill>
                <a:effectLst/>
                <a:uLnTx/>
                <a:uFillTx/>
                <a:latin typeface="Khmer Moul" panose="02060603050605020204" pitchFamily="18" charset="0"/>
                <a:cs typeface="MoolBoran" panose="020B0100010101010101" pitchFamily="34" charset="0"/>
                <a:sym typeface="Arial"/>
              </a:rPr>
              <a:t>ជំពូកទី</a:t>
            </a:r>
            <a:r>
              <a:rPr kumimoji="0" lang="en-US" altLang="de-DE" sz="3600" b="0" i="0" u="none" strike="noStrike" kern="0" cap="none" spc="0" normalizeH="0" baseline="0" noProof="0" dirty="0">
                <a:ln>
                  <a:noFill/>
                </a:ln>
                <a:solidFill>
                  <a:srgbClr val="FF560D"/>
                </a:solidFill>
                <a:effectLst/>
                <a:uLnTx/>
                <a:uFillTx/>
                <a:latin typeface="Khmer Moul" panose="02060603050605020204" pitchFamily="18" charset="0"/>
                <a:cs typeface="Arial"/>
                <a:sym typeface="Arial"/>
              </a:rPr>
              <a:t>6</a:t>
            </a:r>
            <a:endParaRPr kumimoji="0" lang="de-DE" altLang="de-DE" sz="4800" b="0" i="0" u="none" strike="noStrike" kern="0" cap="none" spc="0" normalizeH="0" baseline="0" noProof="0" dirty="0">
              <a:ln>
                <a:noFill/>
              </a:ln>
              <a:solidFill>
                <a:srgbClr val="FF560D"/>
              </a:solidFill>
              <a:effectLst/>
              <a:uLnTx/>
              <a:uFillTx/>
              <a:latin typeface="Khmer Moul" panose="02060603050605020204" pitchFamily="18" charset="0"/>
              <a:cs typeface="Arial"/>
              <a:sym typeface="Arial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0681B20C-C864-4359-BC1C-DFEC6BA765B5}"/>
              </a:ext>
            </a:extLst>
          </p:cNvPr>
          <p:cNvSpPr txBox="1"/>
          <p:nvPr/>
        </p:nvSpPr>
        <p:spPr>
          <a:xfrm>
            <a:off x="4401801" y="2514926"/>
            <a:ext cx="4233678" cy="369332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lvl="0" defTabSz="685800">
              <a:buClrTx/>
            </a:pPr>
            <a:r>
              <a:rPr lang="en-US" altLang="de-DE" sz="2400" b="1" kern="1200" dirty="0">
                <a:solidFill>
                  <a:srgbClr val="7F8FA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Configuring Disk Quota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C5D2EA4C-FAEF-4524-983E-D36F88DC1341}"/>
              </a:ext>
            </a:extLst>
          </p:cNvPr>
          <p:cNvSpPr/>
          <p:nvPr/>
        </p:nvSpPr>
        <p:spPr>
          <a:xfrm>
            <a:off x="7612912" y="159488"/>
            <a:ext cx="1297172" cy="824075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42C73F93-9D19-4FDF-8CF3-33EBD741C4E7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1A86CD2-AF49-473C-9BFE-59E0FF95A3C8}"/>
              </a:ext>
            </a:extLst>
          </p:cNvPr>
          <p:cNvSpPr/>
          <p:nvPr/>
        </p:nvSpPr>
        <p:spPr>
          <a:xfrm>
            <a:off x="6861336" y="196976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BBDD1CC2-8E7C-46FA-B2BE-75BCD211A99A}"/>
              </a:ext>
            </a:extLst>
          </p:cNvPr>
          <p:cNvSpPr/>
          <p:nvPr/>
        </p:nvSpPr>
        <p:spPr>
          <a:xfrm>
            <a:off x="7169299" y="196976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9048205E-F06B-4D07-BECC-D52A48C0627D}"/>
              </a:ext>
            </a:extLst>
          </p:cNvPr>
          <p:cNvSpPr/>
          <p:nvPr/>
        </p:nvSpPr>
        <p:spPr>
          <a:xfrm>
            <a:off x="7785224" y="196976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D675C6F4-E233-461C-A398-8AB28C41C62B}"/>
              </a:ext>
            </a:extLst>
          </p:cNvPr>
          <p:cNvSpPr/>
          <p:nvPr/>
        </p:nvSpPr>
        <p:spPr>
          <a:xfrm>
            <a:off x="8093187" y="196976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EE283ECE-8AA4-451F-AAD2-1BFE1E6BDD8D}"/>
              </a:ext>
            </a:extLst>
          </p:cNvPr>
          <p:cNvSpPr/>
          <p:nvPr/>
        </p:nvSpPr>
        <p:spPr>
          <a:xfrm>
            <a:off x="8401148" y="196976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55A5B7EE-0C39-4744-BB53-4E3858FCB769}"/>
              </a:ext>
            </a:extLst>
          </p:cNvPr>
          <p:cNvSpPr/>
          <p:nvPr/>
        </p:nvSpPr>
        <p:spPr>
          <a:xfrm>
            <a:off x="7477262" y="196976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BBBA9073-FCEC-42C0-9973-DD1F9E19E1B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0330" y="144525"/>
            <a:ext cx="1025765" cy="30151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xmlns="" id="{C477825C-5F3B-450F-A2DE-9521B9F3AA6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1897388" y="107117"/>
            <a:ext cx="387695" cy="395497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67294200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2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2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9" grpId="0"/>
      <p:bldP spid="20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8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983EDB11-5B99-4F09-9BC7-D746870E1C4E}"/>
              </a:ext>
            </a:extLst>
          </p:cNvPr>
          <p:cNvSpPr/>
          <p:nvPr/>
        </p:nvSpPr>
        <p:spPr>
          <a:xfrm>
            <a:off x="874767" y="1533036"/>
            <a:ext cx="3129771" cy="166574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tIns="54864" rIns="54864" bIns="54864" numCol="1" rtlCol="0" anchor="ctr"/>
          <a:lstStyle/>
          <a:p>
            <a:pPr marL="0" marR="0" lvl="0" indent="0" algn="ctr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sz="14925" dirty="0">
                <a:solidFill>
                  <a:srgbClr val="273C75">
                    <a:lumMod val="20000"/>
                    <a:lumOff val="80000"/>
                  </a:srgbClr>
                </a:solidFill>
                <a:latin typeface="សម្រាប់កូនខ្មែរ" panose="02000500000000020004" pitchFamily="2" charset="0"/>
                <a:cs typeface="សម្រាប់កូនខ្មែរ" panose="02000500000000020004" pitchFamily="2" charset="0"/>
              </a:rPr>
              <a:t>3.1</a:t>
            </a:r>
            <a:endParaRPr kumimoji="0" lang="en-US" sz="750" b="0" i="0" u="none" strike="noStrike" kern="0" cap="none" spc="0" normalizeH="0" baseline="0" noProof="0" dirty="0">
              <a:ln>
                <a:noFill/>
              </a:ln>
              <a:solidFill>
                <a:srgbClr val="273C75">
                  <a:lumMod val="20000"/>
                  <a:lumOff val="80000"/>
                </a:srgbClr>
              </a:solidFill>
              <a:effectLst/>
              <a:uLnTx/>
              <a:uFillTx/>
              <a:latin typeface="សម្រាប់កូនខ្មែរ" panose="02000500000000020004" pitchFamily="2" charset="0"/>
              <a:ea typeface="+mn-ea"/>
              <a:cs typeface="សម្រាប់កូនខ្មែរ" panose="02000500000000020004" pitchFamily="2" charset="0"/>
              <a:sym typeface="Arial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CA0D9CDC-ABFA-43C8-8F37-F5B8682C8A96}"/>
              </a:ext>
            </a:extLst>
          </p:cNvPr>
          <p:cNvSpPr/>
          <p:nvPr/>
        </p:nvSpPr>
        <p:spPr>
          <a:xfrm>
            <a:off x="4025398" y="1478151"/>
            <a:ext cx="4143126" cy="19485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altLang="de-DE" sz="1350" b="0" i="0" u="none" strike="noStrike" kern="120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72BA5E31-8C76-4878-8E9A-40C31B4AFA64}"/>
              </a:ext>
            </a:extLst>
          </p:cNvPr>
          <p:cNvSpPr/>
          <p:nvPr/>
        </p:nvSpPr>
        <p:spPr>
          <a:xfrm>
            <a:off x="4125685" y="1222218"/>
            <a:ext cx="5018315" cy="26990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altLang="de-DE" sz="1350" b="0" i="0" u="none" strike="noStrike" kern="120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33CFFF82-1DE1-4847-A9A2-AA670A313F9F}"/>
              </a:ext>
            </a:extLst>
          </p:cNvPr>
          <p:cNvSpPr txBox="1"/>
          <p:nvPr/>
        </p:nvSpPr>
        <p:spPr>
          <a:xfrm>
            <a:off x="4401801" y="1603158"/>
            <a:ext cx="1261564" cy="738664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km-KH" altLang="de-DE" sz="4800" b="0" i="0" u="none" strike="noStrike" kern="0" cap="none" spc="0" normalizeH="0" baseline="0" noProof="0" dirty="0">
                <a:ln>
                  <a:noFill/>
                </a:ln>
                <a:solidFill>
                  <a:srgbClr val="FF560D"/>
                </a:solidFill>
                <a:effectLst/>
                <a:uLnTx/>
                <a:uFillTx/>
                <a:latin typeface="Khmer Moul" panose="02060603050605020204" pitchFamily="18" charset="0"/>
                <a:cs typeface="MoolBoran" panose="020B0100010101010101" pitchFamily="34" charset="0"/>
                <a:sym typeface="Arial"/>
              </a:rPr>
              <a:t>ជំពូកទី</a:t>
            </a:r>
            <a:r>
              <a:rPr kumimoji="0" lang="en-US" altLang="de-DE" sz="3600" b="0" i="0" u="none" strike="noStrike" kern="0" cap="none" spc="0" normalizeH="0" baseline="0" noProof="0" dirty="0">
                <a:ln>
                  <a:noFill/>
                </a:ln>
                <a:solidFill>
                  <a:srgbClr val="FF560D"/>
                </a:solidFill>
                <a:effectLst/>
                <a:uLnTx/>
                <a:uFillTx/>
                <a:latin typeface="Khmer Moul" panose="02060603050605020204" pitchFamily="18" charset="0"/>
                <a:cs typeface="Arial"/>
                <a:sym typeface="Arial"/>
              </a:rPr>
              <a:t>6</a:t>
            </a:r>
            <a:endParaRPr kumimoji="0" lang="de-DE" altLang="de-DE" sz="4800" b="0" i="0" u="none" strike="noStrike" kern="0" cap="none" spc="0" normalizeH="0" baseline="0" noProof="0" dirty="0">
              <a:ln>
                <a:noFill/>
              </a:ln>
              <a:solidFill>
                <a:srgbClr val="FF560D"/>
              </a:solidFill>
              <a:effectLst/>
              <a:uLnTx/>
              <a:uFillTx/>
              <a:latin typeface="Khmer Moul" panose="02060603050605020204" pitchFamily="18" charset="0"/>
              <a:cs typeface="Arial"/>
              <a:sym typeface="Arial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0681B20C-C864-4359-BC1C-DFEC6BA765B5}"/>
              </a:ext>
            </a:extLst>
          </p:cNvPr>
          <p:cNvSpPr txBox="1"/>
          <p:nvPr/>
        </p:nvSpPr>
        <p:spPr>
          <a:xfrm>
            <a:off x="4401801" y="2517647"/>
            <a:ext cx="4233678" cy="738664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lvl="0" defTabSz="685800">
              <a:buClrTx/>
            </a:pPr>
            <a:r>
              <a:rPr lang="km-KH" altLang="de-DE" sz="2400" b="1" kern="1200" dirty="0">
                <a:solidFill>
                  <a:srgbClr val="7F8FA1"/>
                </a:solidFill>
                <a:latin typeface="Ang DaunKeo" panose="020B0503020102020204" pitchFamily="34" charset="0"/>
                <a:ea typeface="+mn-ea"/>
                <a:cs typeface="Ang DaunKeo" panose="020B0503020102020204" pitchFamily="34" charset="0"/>
              </a:rPr>
              <a:t>ការកំណត់ </a:t>
            </a:r>
            <a:r>
              <a:rPr lang="en-US" altLang="de-DE" sz="2400" b="1" kern="1200" dirty="0">
                <a:solidFill>
                  <a:srgbClr val="7F8FA1"/>
                </a:solidFill>
                <a:latin typeface="Ang DaunKeo" panose="020B0503020102020204" pitchFamily="34" charset="0"/>
                <a:ea typeface="+mn-ea"/>
                <a:cs typeface="Ang DaunKeo" panose="020B0503020102020204" pitchFamily="34" charset="0"/>
              </a:rPr>
              <a:t>Quota </a:t>
            </a:r>
            <a:r>
              <a:rPr lang="km-KH" altLang="de-DE" sz="2400" b="1" kern="1200" dirty="0">
                <a:solidFill>
                  <a:srgbClr val="7F8FA1"/>
                </a:solidFill>
                <a:latin typeface="Ang DaunKeo" panose="020B0503020102020204" pitchFamily="34" charset="0"/>
                <a:ea typeface="+mn-ea"/>
                <a:cs typeface="Ang DaunKeo" panose="020B0503020102020204" pitchFamily="34" charset="0"/>
              </a:rPr>
              <a:t>ដោយប្រើ </a:t>
            </a:r>
            <a:r>
              <a:rPr lang="en-US" altLang="de-DE" sz="2400" b="1" kern="1200" dirty="0">
                <a:solidFill>
                  <a:srgbClr val="7F8FA1"/>
                </a:solidFill>
                <a:latin typeface="Ang DaunKeo" panose="020B0503020102020204" pitchFamily="34" charset="0"/>
                <a:ea typeface="+mn-ea"/>
                <a:cs typeface="Ang DaunKeo" panose="020B0503020102020204" pitchFamily="34" charset="0"/>
              </a:rPr>
              <a:t>XFS filesystem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29BC54E3-FC47-4DE7-B627-CF8619EB5E80}"/>
              </a:ext>
            </a:extLst>
          </p:cNvPr>
          <p:cNvSpPr/>
          <p:nvPr/>
        </p:nvSpPr>
        <p:spPr>
          <a:xfrm>
            <a:off x="7612912" y="159488"/>
            <a:ext cx="1297172" cy="824075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ABC8C1FD-0BE2-4354-ACCB-C4722CBB528E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E1DB313-0A2B-43ED-A115-F53787FC427D}"/>
              </a:ext>
            </a:extLst>
          </p:cNvPr>
          <p:cNvSpPr/>
          <p:nvPr/>
        </p:nvSpPr>
        <p:spPr>
          <a:xfrm>
            <a:off x="6861336" y="196976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02B806C6-15B1-4735-B21B-8C6AA32518E1}"/>
              </a:ext>
            </a:extLst>
          </p:cNvPr>
          <p:cNvSpPr/>
          <p:nvPr/>
        </p:nvSpPr>
        <p:spPr>
          <a:xfrm>
            <a:off x="7169299" y="196976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CAFA8B2-DB95-43E5-8768-8673176CE45A}"/>
              </a:ext>
            </a:extLst>
          </p:cNvPr>
          <p:cNvSpPr/>
          <p:nvPr/>
        </p:nvSpPr>
        <p:spPr>
          <a:xfrm>
            <a:off x="7785224" y="196976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B5765588-C4BF-480E-AE63-B0BA864A3302}"/>
              </a:ext>
            </a:extLst>
          </p:cNvPr>
          <p:cNvSpPr/>
          <p:nvPr/>
        </p:nvSpPr>
        <p:spPr>
          <a:xfrm>
            <a:off x="8093187" y="196976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60C2997F-7F20-40C6-9CB3-7D9EAF75D5F7}"/>
              </a:ext>
            </a:extLst>
          </p:cNvPr>
          <p:cNvSpPr/>
          <p:nvPr/>
        </p:nvSpPr>
        <p:spPr>
          <a:xfrm>
            <a:off x="8401148" y="196976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27858EF0-7269-4C74-A577-42D02E76177A}"/>
              </a:ext>
            </a:extLst>
          </p:cNvPr>
          <p:cNvSpPr/>
          <p:nvPr/>
        </p:nvSpPr>
        <p:spPr>
          <a:xfrm>
            <a:off x="7477262" y="196976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9177214C-CFB3-4869-8633-78E3B199A89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0330" y="144525"/>
            <a:ext cx="1025765" cy="30151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xmlns="" id="{EB31A0C1-25AE-4946-8280-C07D824DE140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1897388" y="107117"/>
            <a:ext cx="387695" cy="395497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4729872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2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2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9" grpId="0"/>
      <p:bldP spid="20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rrow: Pentagon 8">
            <a:extLst>
              <a:ext uri="{FF2B5EF4-FFF2-40B4-BE49-F238E27FC236}">
                <a16:creationId xmlns:a16="http://schemas.microsoft.com/office/drawing/2014/main" xmlns="" id="{AA85D4C3-2BC7-4E50-8F60-B2018ADDE7D6}"/>
              </a:ext>
            </a:extLst>
          </p:cNvPr>
          <p:cNvSpPr/>
          <p:nvPr/>
        </p:nvSpPr>
        <p:spPr>
          <a:xfrm>
            <a:off x="0" y="714375"/>
            <a:ext cx="5000626" cy="59055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xmlns="" id="{42999A07-EA59-46B8-B26A-524183113BE5}"/>
              </a:ext>
            </a:extLst>
          </p:cNvPr>
          <p:cNvSpPr/>
          <p:nvPr/>
        </p:nvSpPr>
        <p:spPr>
          <a:xfrm>
            <a:off x="0" y="1457324"/>
            <a:ext cx="9144000" cy="2886075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Arrow: Pentagon 17">
            <a:extLst>
              <a:ext uri="{FF2B5EF4-FFF2-40B4-BE49-F238E27FC236}">
                <a16:creationId xmlns:a16="http://schemas.microsoft.com/office/drawing/2014/main" xmlns="" id="{3D58153F-9C2C-40F8-81AB-96E7C707D64B}"/>
              </a:ext>
            </a:extLst>
          </p:cNvPr>
          <p:cNvSpPr/>
          <p:nvPr/>
        </p:nvSpPr>
        <p:spPr>
          <a:xfrm>
            <a:off x="4762" y="1514738"/>
            <a:ext cx="9058275" cy="2761987"/>
          </a:xfrm>
          <a:prstGeom prst="homePlat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Arrow: Pentagon 18">
            <a:extLst>
              <a:ext uri="{FF2B5EF4-FFF2-40B4-BE49-F238E27FC236}">
                <a16:creationId xmlns:a16="http://schemas.microsoft.com/office/drawing/2014/main" xmlns="" id="{B36584C9-6869-4DBF-B596-8906FE7C54F7}"/>
              </a:ext>
            </a:extLst>
          </p:cNvPr>
          <p:cNvSpPr/>
          <p:nvPr/>
        </p:nvSpPr>
        <p:spPr>
          <a:xfrm>
            <a:off x="0" y="1557600"/>
            <a:ext cx="8991600" cy="2676261"/>
          </a:xfrm>
          <a:prstGeom prst="homePlat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xmlns="" id="{9DAB601D-4CD8-452D-BCA8-4B54519BC6DC}"/>
              </a:ext>
            </a:extLst>
          </p:cNvPr>
          <p:cNvSpPr/>
          <p:nvPr/>
        </p:nvSpPr>
        <p:spPr>
          <a:xfrm>
            <a:off x="-1" y="1590936"/>
            <a:ext cx="8920163" cy="2609587"/>
          </a:xfrm>
          <a:prstGeom prst="homePlat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Arrow: Pentagon 20">
            <a:extLst>
              <a:ext uri="{FF2B5EF4-FFF2-40B4-BE49-F238E27FC236}">
                <a16:creationId xmlns:a16="http://schemas.microsoft.com/office/drawing/2014/main" xmlns="" id="{E721137A-7625-4BDF-B24B-BB2796675E39}"/>
              </a:ext>
            </a:extLst>
          </p:cNvPr>
          <p:cNvSpPr/>
          <p:nvPr/>
        </p:nvSpPr>
        <p:spPr>
          <a:xfrm>
            <a:off x="-2" y="1590936"/>
            <a:ext cx="8884445" cy="2597291"/>
          </a:xfrm>
          <a:prstGeom prst="homePlat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ctr"/>
            <a:r>
              <a:rPr lang="en-US" b="1" dirty="0">
                <a:solidFill>
                  <a:srgbClr val="FFFF00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                         </a:t>
            </a:r>
            <a:endParaRPr lang="en-US" dirty="0">
              <a:solidFill>
                <a:srgbClr val="FFFF00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fontAlgn="ctr"/>
            <a:r>
              <a:rPr lang="en-US" b="1" dirty="0">
                <a:solidFill>
                  <a:srgbClr val="FFFF00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                                1.   RON DARYTO                                  6.   PUTH PISETH                                     </a:t>
            </a:r>
            <a:endParaRPr lang="en-US" dirty="0">
              <a:solidFill>
                <a:srgbClr val="FFFF00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fontAlgn="ctr"/>
            <a:r>
              <a:rPr lang="en-US" b="1" dirty="0">
                <a:solidFill>
                  <a:srgbClr val="FFFF00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                          </a:t>
            </a:r>
            <a:endParaRPr lang="en-US" dirty="0">
              <a:solidFill>
                <a:srgbClr val="FFFF00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fontAlgn="ctr"/>
            <a:r>
              <a:rPr lang="en-US" b="1" dirty="0">
                <a:solidFill>
                  <a:srgbClr val="FFFF00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                                2.  SOUN NIVOTH                                 7.   RANG PUTHIROTH </a:t>
            </a:r>
            <a:endParaRPr lang="en-US" dirty="0">
              <a:solidFill>
                <a:srgbClr val="FFFF00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fontAlgn="ctr"/>
            <a:r>
              <a:rPr lang="en-US" b="1" dirty="0">
                <a:solidFill>
                  <a:srgbClr val="FFFF00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                          </a:t>
            </a:r>
            <a:endParaRPr lang="en-US" dirty="0">
              <a:solidFill>
                <a:srgbClr val="FFFF00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fontAlgn="ctr"/>
            <a:r>
              <a:rPr lang="en-US" b="1" dirty="0">
                <a:solidFill>
                  <a:srgbClr val="FFFF00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                                3.  KHEN HEANG                                  8.   POT SAMNANG</a:t>
            </a:r>
            <a:endParaRPr lang="en-US" dirty="0">
              <a:solidFill>
                <a:srgbClr val="FFFF00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fontAlgn="ctr"/>
            <a:r>
              <a:rPr lang="en-US" b="1" dirty="0">
                <a:solidFill>
                  <a:srgbClr val="FFFF00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                           </a:t>
            </a:r>
            <a:endParaRPr lang="en-US" dirty="0">
              <a:solidFill>
                <a:srgbClr val="FFFF00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fontAlgn="ctr"/>
            <a:r>
              <a:rPr lang="en-US" b="1" dirty="0">
                <a:solidFill>
                  <a:srgbClr val="FFFF00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                               4.  THEA OUDOM                                  9.  PHEA SOCHEAT</a:t>
            </a:r>
            <a:endParaRPr lang="en-US" dirty="0">
              <a:solidFill>
                <a:srgbClr val="FFFF00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fontAlgn="ctr"/>
            <a:r>
              <a:rPr lang="en-US" b="1" dirty="0">
                <a:solidFill>
                  <a:srgbClr val="FFFF00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                          </a:t>
            </a:r>
            <a:endParaRPr lang="en-US" dirty="0">
              <a:solidFill>
                <a:srgbClr val="FFFF00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fontAlgn="ctr"/>
            <a:r>
              <a:rPr lang="en-US" b="1" dirty="0">
                <a:solidFill>
                  <a:srgbClr val="FFFF00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                               5.  HENG MITHONA                            10.  CHANN SOKHOM     11.SAO CHANSOV</a:t>
            </a:r>
            <a:r>
              <a:rPr lang="en-US" dirty="0">
                <a:solidFill>
                  <a:srgbClr val="FFFF00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ATH</a:t>
            </a:r>
          </a:p>
          <a:p>
            <a:pPr fontAlgn="ctr"/>
            <a:r>
              <a:rPr lang="en-US" b="1" dirty="0">
                <a:solidFill>
                  <a:srgbClr val="FFFF00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                </a:t>
            </a:r>
            <a:endParaRPr lang="en-US" dirty="0">
              <a:solidFill>
                <a:srgbClr val="FFFF00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</p:txBody>
      </p:sp>
      <p:sp>
        <p:nvSpPr>
          <p:cNvPr id="22" name="Google Shape;211;p28">
            <a:extLst>
              <a:ext uri="{FF2B5EF4-FFF2-40B4-BE49-F238E27FC236}">
                <a16:creationId xmlns:a16="http://schemas.microsoft.com/office/drawing/2014/main" xmlns="" id="{9797FFCD-45DE-4E1E-ACA4-E8E5812BE89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951350" y="693787"/>
            <a:ext cx="4525525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bg1"/>
                </a:solidFill>
              </a:rPr>
              <a:t>      GROUP 7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B9D8CABD-F6E3-4B97-8585-4565D709065C}"/>
              </a:ext>
            </a:extLst>
          </p:cNvPr>
          <p:cNvSpPr/>
          <p:nvPr/>
        </p:nvSpPr>
        <p:spPr>
          <a:xfrm>
            <a:off x="6861336" y="196976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xmlns="" id="{AA783D03-A842-4EBE-8C28-6A9D67D24AB5}"/>
              </a:ext>
            </a:extLst>
          </p:cNvPr>
          <p:cNvSpPr/>
          <p:nvPr/>
        </p:nvSpPr>
        <p:spPr>
          <a:xfrm>
            <a:off x="7169299" y="196976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xmlns="" id="{FFE11F1B-1C95-4142-AC15-F27ECA06DB68}"/>
              </a:ext>
            </a:extLst>
          </p:cNvPr>
          <p:cNvSpPr/>
          <p:nvPr/>
        </p:nvSpPr>
        <p:spPr>
          <a:xfrm>
            <a:off x="7785224" y="196976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xmlns="" id="{418C1254-6E36-41FB-BBD1-01B1B18012E1}"/>
              </a:ext>
            </a:extLst>
          </p:cNvPr>
          <p:cNvSpPr/>
          <p:nvPr/>
        </p:nvSpPr>
        <p:spPr>
          <a:xfrm>
            <a:off x="8093187" y="196976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xmlns="" id="{B7F2C08E-3173-40DB-8D70-BD3011236E58}"/>
              </a:ext>
            </a:extLst>
          </p:cNvPr>
          <p:cNvSpPr/>
          <p:nvPr/>
        </p:nvSpPr>
        <p:spPr>
          <a:xfrm>
            <a:off x="8401148" y="196976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xmlns="" id="{571F8D1A-4998-47EA-AFF0-AEDBF5E0C51C}"/>
              </a:ext>
            </a:extLst>
          </p:cNvPr>
          <p:cNvSpPr/>
          <p:nvPr/>
        </p:nvSpPr>
        <p:spPr>
          <a:xfrm>
            <a:off x="7477262" y="196976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xmlns="" id="{3AF7ABD7-1AF4-412E-8FCD-233CC918AE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0330" y="144525"/>
            <a:ext cx="1025765" cy="301519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xmlns="" id="{78DD18D4-2611-45F4-832F-05F2372E2BE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/>
          <a:stretch/>
        </p:blipFill>
        <p:spPr>
          <a:xfrm>
            <a:off x="1897388" y="107117"/>
            <a:ext cx="387695" cy="3954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680541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2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2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8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"/>
                                  </p:iterate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2000" fill="hold"/>
                                        <p:tgtEl>
                                          <p:spTgt spid="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2000" fill="hold"/>
                                        <p:tgtEl>
                                          <p:spTgt spid="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8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"/>
                                  </p:iterate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2000" fill="hold"/>
                                        <p:tgtEl>
                                          <p:spTgt spid="2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2000" fill="hold"/>
                                        <p:tgtEl>
                                          <p:spTgt spid="2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8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2000" fill="hold"/>
                                        <p:tgtEl>
                                          <p:spTgt spid="2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2000" fill="hold"/>
                                        <p:tgtEl>
                                          <p:spTgt spid="2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8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"/>
                                  </p:iterate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2000" fill="hold"/>
                                        <p:tgtEl>
                                          <p:spTgt spid="2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2000" fill="hold"/>
                                        <p:tgtEl>
                                          <p:spTgt spid="2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8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"/>
                                  </p:iterate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2000" fill="hold"/>
                                        <p:tgtEl>
                                          <p:spTgt spid="2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2000" fill="hold"/>
                                        <p:tgtEl>
                                          <p:spTgt spid="2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8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"/>
                                  </p:iterate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2000" fill="hold"/>
                                        <p:tgtEl>
                                          <p:spTgt spid="2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2000" fill="hold"/>
                                        <p:tgtEl>
                                          <p:spTgt spid="2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8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"/>
                                  </p:iterate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2000" fill="hold"/>
                                        <p:tgtEl>
                                          <p:spTgt spid="2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2000" fill="hold"/>
                                        <p:tgtEl>
                                          <p:spTgt spid="2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8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"/>
                                  </p:iterate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2000" fill="hold"/>
                                        <p:tgtEl>
                                          <p:spTgt spid="2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2000" fill="hold"/>
                                        <p:tgtEl>
                                          <p:spTgt spid="2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8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"/>
                                  </p:iterate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2000" fill="hold"/>
                                        <p:tgtEl>
                                          <p:spTgt spid="2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2000" fill="hold"/>
                                        <p:tgtEl>
                                          <p:spTgt spid="2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2" grpId="0" animBg="1"/>
      <p:bldP spid="18" grpId="0" animBg="1"/>
      <p:bldP spid="19" grpId="0" animBg="1"/>
      <p:bldP spid="20" grpId="0" animBg="1"/>
      <p:bldP spid="21" grpId="0" animBg="1"/>
      <p:bldP spid="22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2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0FC3722-8F96-43A5-A133-2ADF5CE88875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xmlns="" id="{475343A4-333F-4558-9B30-BC15AAB1A318}"/>
              </a:ext>
            </a:extLst>
          </p:cNvPr>
          <p:cNvSpPr/>
          <p:nvPr/>
        </p:nvSpPr>
        <p:spPr>
          <a:xfrm>
            <a:off x="-50782" y="1"/>
            <a:ext cx="11302409" cy="519489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xmlns="" id="{925C2EED-F692-4F64-B5C8-DBB35B8EAE13}"/>
              </a:ext>
            </a:extLst>
          </p:cNvPr>
          <p:cNvSpPr/>
          <p:nvPr/>
        </p:nvSpPr>
        <p:spPr>
          <a:xfrm>
            <a:off x="-55546" y="66454"/>
            <a:ext cx="11251630" cy="507704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xmlns="" id="{BE6E1CF5-59DA-43AB-9866-0328CF12083B}"/>
              </a:ext>
            </a:extLst>
          </p:cNvPr>
          <p:cNvSpPr/>
          <p:nvPr/>
        </p:nvSpPr>
        <p:spPr>
          <a:xfrm>
            <a:off x="-3" y="127067"/>
            <a:ext cx="11111023" cy="4949979"/>
          </a:xfrm>
          <a:prstGeom prst="homePlat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xmlns="" id="{5386A08B-7D7F-47E3-92B0-DE14688643F9}"/>
              </a:ext>
            </a:extLst>
          </p:cNvPr>
          <p:cNvSpPr/>
          <p:nvPr/>
        </p:nvSpPr>
        <p:spPr>
          <a:xfrm>
            <a:off x="-74428" y="152763"/>
            <a:ext cx="11129905" cy="4889366"/>
          </a:xfrm>
          <a:prstGeom prst="homePlat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>
              <a:solidFill>
                <a:schemeClr val="tx1"/>
              </a:solidFill>
              <a:latin typeface="Khmer OS Battambang" panose="02000500000000020004" pitchFamily="2" charset="0"/>
              <a:cs typeface="Khmer OS Battambang" panose="02000500000000020004" pitchFamily="2" charset="0"/>
            </a:endParaRPr>
          </a:p>
          <a:p>
            <a:endParaRPr lang="en-US" dirty="0">
              <a:solidFill>
                <a:schemeClr val="tx1"/>
              </a:solidFill>
              <a:latin typeface="Khmer OS Battambang" panose="02000500000000020004" pitchFamily="2" charset="0"/>
              <a:cs typeface="Khmer OS Battambang" panose="02000500000000020004" pitchFamily="2" charset="0"/>
            </a:endParaRPr>
          </a:p>
          <a:p>
            <a:r>
              <a:rPr lang="en-US" dirty="0">
                <a:solidFill>
                  <a:schemeClr val="tx1"/>
                </a:solidFill>
                <a:latin typeface="Khmer OS Battambang" panose="02000500000000020004" pitchFamily="2" charset="0"/>
                <a:cs typeface="Khmer OS Battambang" panose="02000500000000020004" pitchFamily="2" charset="0"/>
              </a:rPr>
              <a:t>	</a:t>
            </a:r>
            <a:r>
              <a:rPr lang="km-KH" dirty="0">
                <a:solidFill>
                  <a:schemeClr val="tx1"/>
                </a:solidFill>
                <a:latin typeface="Khmer OS Battambang" panose="02000500000000020004" pitchFamily="2" charset="0"/>
                <a:cs typeface="Khmer OS Battambang" panose="02000500000000020004" pitchFamily="2" charset="0"/>
              </a:rPr>
              <a:t>១. ការបើក</a:t>
            </a:r>
            <a:r>
              <a:rPr lang="en-US" dirty="0">
                <a:solidFill>
                  <a:schemeClr val="tx1"/>
                </a:solidFill>
                <a:latin typeface="Khmer OS Battambang" panose="02000500000000020004" pitchFamily="2" charset="0"/>
                <a:cs typeface="Khmer OS Battambang" panose="02000500000000020004" pitchFamily="2" charset="0"/>
              </a:rPr>
              <a:t> (Enable) Quota </a:t>
            </a:r>
            <a:r>
              <a:rPr lang="km-KH" dirty="0">
                <a:solidFill>
                  <a:schemeClr val="tx1"/>
                </a:solidFill>
                <a:latin typeface="Khmer OS Battambang" panose="02000500000000020004" pitchFamily="2" charset="0"/>
                <a:cs typeface="Khmer OS Battambang" panose="02000500000000020004" pitchFamily="2" charset="0"/>
              </a:rPr>
              <a:t>ដើម្បីបន្ថែម </a:t>
            </a:r>
            <a:r>
              <a:rPr lang="en-US" dirty="0">
                <a:solidFill>
                  <a:schemeClr val="tx1"/>
                </a:solidFill>
                <a:latin typeface="Khmer OS Battambang" panose="02000500000000020004" pitchFamily="2" charset="0"/>
                <a:cs typeface="Khmer OS Battambang" panose="02000500000000020004" pitchFamily="2" charset="0"/>
              </a:rPr>
              <a:t>mount options</a:t>
            </a:r>
          </a:p>
          <a:p>
            <a:r>
              <a:rPr lang="en-US" dirty="0">
                <a:solidFill>
                  <a:schemeClr val="tx1"/>
                </a:solidFill>
              </a:rPr>
              <a:t>	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1A6F54B5-0441-4560-B588-51F6748A10E7}"/>
              </a:ext>
            </a:extLst>
          </p:cNvPr>
          <p:cNvSpPr/>
          <p:nvPr/>
        </p:nvSpPr>
        <p:spPr>
          <a:xfrm>
            <a:off x="853933" y="303302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E76D8363-97F8-4D84-B055-4CAB5AF1B9B9}"/>
              </a:ext>
            </a:extLst>
          </p:cNvPr>
          <p:cNvSpPr/>
          <p:nvPr/>
        </p:nvSpPr>
        <p:spPr>
          <a:xfrm>
            <a:off x="1161896" y="303302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E1E5901C-75B9-4255-B79F-AFC39A71CB5A}"/>
              </a:ext>
            </a:extLst>
          </p:cNvPr>
          <p:cNvSpPr/>
          <p:nvPr/>
        </p:nvSpPr>
        <p:spPr>
          <a:xfrm>
            <a:off x="1777821" y="303302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5B68763A-C0FE-4288-99F2-5FD3D1D6259F}"/>
              </a:ext>
            </a:extLst>
          </p:cNvPr>
          <p:cNvSpPr/>
          <p:nvPr/>
        </p:nvSpPr>
        <p:spPr>
          <a:xfrm>
            <a:off x="2085784" y="303302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36678E34-C42F-4272-A80C-040E642AF4BE}"/>
              </a:ext>
            </a:extLst>
          </p:cNvPr>
          <p:cNvSpPr/>
          <p:nvPr/>
        </p:nvSpPr>
        <p:spPr>
          <a:xfrm>
            <a:off x="2393745" y="303302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12996ED4-A971-4578-B5CD-3D91B7A50B7D}"/>
              </a:ext>
            </a:extLst>
          </p:cNvPr>
          <p:cNvSpPr/>
          <p:nvPr/>
        </p:nvSpPr>
        <p:spPr>
          <a:xfrm>
            <a:off x="1469859" y="303302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xmlns="" id="{F4FC888B-7FCA-46F6-B3EA-F5E5A44DE1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03568" y="250851"/>
            <a:ext cx="1025765" cy="301519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xmlns="" id="{3AF8591F-F851-4C72-BCB4-63E779F403D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8170626" y="213443"/>
            <a:ext cx="387695" cy="395497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BEA442F0-5E3D-4B7E-857B-E9359848E697}"/>
              </a:ext>
            </a:extLst>
          </p:cNvPr>
          <p:cNvSpPr txBox="1"/>
          <p:nvPr/>
        </p:nvSpPr>
        <p:spPr>
          <a:xfrm>
            <a:off x="952242" y="1474061"/>
            <a:ext cx="6684410" cy="2246769"/>
          </a:xfrm>
          <a:prstGeom prst="rect">
            <a:avLst/>
          </a:prstGeom>
          <a:solidFill>
            <a:srgbClr val="000000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[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ot@dlp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~]# 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mount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/hom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[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ot@dlp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~]# mount -0 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quota,gquota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/dev/sdb1 /hom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[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ot@dlp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~]# vi /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c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stab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 add option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dev/mapper/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etos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root /                           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fs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defaults                            0 0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UID-c4df086e-3699-4e02-b7cf  /boot     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fs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defaults                            0 0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dev/mapper/centos-swap  swap            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wap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defaults                             0 0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dev/sdb1            /home                          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fs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faults,uquota,gquota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0 0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47139421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6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0FC3722-8F96-43A5-A133-2ADF5CE88875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xmlns="" id="{475343A4-333F-4558-9B30-BC15AAB1A318}"/>
              </a:ext>
            </a:extLst>
          </p:cNvPr>
          <p:cNvSpPr/>
          <p:nvPr/>
        </p:nvSpPr>
        <p:spPr>
          <a:xfrm>
            <a:off x="-50782" y="1"/>
            <a:ext cx="11302409" cy="519489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xmlns="" id="{925C2EED-F692-4F64-B5C8-DBB35B8EAE13}"/>
              </a:ext>
            </a:extLst>
          </p:cNvPr>
          <p:cNvSpPr/>
          <p:nvPr/>
        </p:nvSpPr>
        <p:spPr>
          <a:xfrm>
            <a:off x="-55546" y="66454"/>
            <a:ext cx="11251630" cy="507704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xmlns="" id="{BE6E1CF5-59DA-43AB-9866-0328CF12083B}"/>
              </a:ext>
            </a:extLst>
          </p:cNvPr>
          <p:cNvSpPr/>
          <p:nvPr/>
        </p:nvSpPr>
        <p:spPr>
          <a:xfrm>
            <a:off x="-3" y="127067"/>
            <a:ext cx="11111023" cy="4949979"/>
          </a:xfrm>
          <a:prstGeom prst="homePlat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xmlns="" id="{5386A08B-7D7F-47E3-92B0-DE14688643F9}"/>
              </a:ext>
            </a:extLst>
          </p:cNvPr>
          <p:cNvSpPr/>
          <p:nvPr/>
        </p:nvSpPr>
        <p:spPr>
          <a:xfrm>
            <a:off x="-74428" y="152763"/>
            <a:ext cx="11129905" cy="4889366"/>
          </a:xfrm>
          <a:prstGeom prst="homePlat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	</a:t>
            </a:r>
          </a:p>
          <a:p>
            <a:r>
              <a:rPr lang="en-US" dirty="0">
                <a:solidFill>
                  <a:schemeClr val="tx1"/>
                </a:solidFill>
              </a:rPr>
              <a:t>	</a:t>
            </a:r>
            <a:r>
              <a:rPr lang="km-KH" dirty="0">
                <a:solidFill>
                  <a:schemeClr val="tx1"/>
                </a:solidFill>
              </a:rPr>
              <a:t>២. កំណត់ </a:t>
            </a:r>
            <a:r>
              <a:rPr lang="en-US" dirty="0">
                <a:solidFill>
                  <a:schemeClr val="tx1"/>
                </a:solidFill>
              </a:rPr>
              <a:t>Quota </a:t>
            </a:r>
            <a:r>
              <a:rPr lang="km-KH" dirty="0">
                <a:solidFill>
                  <a:schemeClr val="tx1"/>
                </a:solidFill>
              </a:rPr>
              <a:t>ឲ្យ</a:t>
            </a:r>
            <a:r>
              <a:rPr lang="en-US">
                <a:solidFill>
                  <a:schemeClr val="tx1"/>
                </a:solidFill>
              </a:rPr>
              <a:t> </a:t>
            </a:r>
            <a:r>
              <a:rPr lang="en-US" smtClean="0">
                <a:solidFill>
                  <a:schemeClr val="tx1"/>
                </a:solidFill>
              </a:rPr>
              <a:t>User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1A6F54B5-0441-4560-B588-51F6748A10E7}"/>
              </a:ext>
            </a:extLst>
          </p:cNvPr>
          <p:cNvSpPr/>
          <p:nvPr/>
        </p:nvSpPr>
        <p:spPr>
          <a:xfrm>
            <a:off x="853933" y="303302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E76D8363-97F8-4D84-B055-4CAB5AF1B9B9}"/>
              </a:ext>
            </a:extLst>
          </p:cNvPr>
          <p:cNvSpPr/>
          <p:nvPr/>
        </p:nvSpPr>
        <p:spPr>
          <a:xfrm>
            <a:off x="1161896" y="303302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E1E5901C-75B9-4255-B79F-AFC39A71CB5A}"/>
              </a:ext>
            </a:extLst>
          </p:cNvPr>
          <p:cNvSpPr/>
          <p:nvPr/>
        </p:nvSpPr>
        <p:spPr>
          <a:xfrm>
            <a:off x="1777821" y="303302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5B68763A-C0FE-4288-99F2-5FD3D1D6259F}"/>
              </a:ext>
            </a:extLst>
          </p:cNvPr>
          <p:cNvSpPr/>
          <p:nvPr/>
        </p:nvSpPr>
        <p:spPr>
          <a:xfrm>
            <a:off x="2085784" y="303302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36678E34-C42F-4272-A80C-040E642AF4BE}"/>
              </a:ext>
            </a:extLst>
          </p:cNvPr>
          <p:cNvSpPr/>
          <p:nvPr/>
        </p:nvSpPr>
        <p:spPr>
          <a:xfrm>
            <a:off x="2393745" y="303302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12996ED4-A971-4578-B5CD-3D91B7A50B7D}"/>
              </a:ext>
            </a:extLst>
          </p:cNvPr>
          <p:cNvSpPr/>
          <p:nvPr/>
        </p:nvSpPr>
        <p:spPr>
          <a:xfrm>
            <a:off x="1469859" y="303302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xmlns="" id="{F4FC888B-7FCA-46F6-B3EA-F5E5A44DE1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03568" y="250851"/>
            <a:ext cx="1025765" cy="301519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xmlns="" id="{3AF8591F-F851-4C72-BCB4-63E779F403D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8170626" y="213443"/>
            <a:ext cx="387695" cy="395497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63397833-53B0-4737-8909-3A14EDD6E6B0}"/>
              </a:ext>
            </a:extLst>
          </p:cNvPr>
          <p:cNvSpPr txBox="1"/>
          <p:nvPr/>
        </p:nvSpPr>
        <p:spPr>
          <a:xfrm>
            <a:off x="884664" y="1061603"/>
            <a:ext cx="7582829" cy="3477875"/>
          </a:xfrm>
          <a:prstGeom prst="rect">
            <a:avLst/>
          </a:prstGeom>
          <a:solidFill>
            <a:srgbClr val="000000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 run quota tool with expert mod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[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ot@dlp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~]#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fs_quota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–x /hom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show current status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fs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quota&gt; stat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er quota state on /home (/dev/sdb1)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Accounting:  ON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Enforcement: ON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ode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#136 (2 blocks, 2 extents)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oup quota state on /home (/dev/sdb1)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Accounting:  ON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Enforcement: ON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ode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#137 (2 blocks, 2 extents)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ject quota state on /home (/dev/sdb1)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Accounting:  OF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Enforcement: OF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ode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#137 (2 blocks, 2 extents)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ocks grace time: [7 days 00:00:30]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odes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grace time: [7 days 00:00:30]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altime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Blocks grace time: [7 days 00:00:30]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42973896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0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0FC3722-8F96-43A5-A133-2ADF5CE88875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xmlns="" id="{475343A4-333F-4558-9B30-BC15AAB1A318}"/>
              </a:ext>
            </a:extLst>
          </p:cNvPr>
          <p:cNvSpPr/>
          <p:nvPr/>
        </p:nvSpPr>
        <p:spPr>
          <a:xfrm>
            <a:off x="-50782" y="1"/>
            <a:ext cx="11302409" cy="519489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xmlns="" id="{925C2EED-F692-4F64-B5C8-DBB35B8EAE13}"/>
              </a:ext>
            </a:extLst>
          </p:cNvPr>
          <p:cNvSpPr/>
          <p:nvPr/>
        </p:nvSpPr>
        <p:spPr>
          <a:xfrm>
            <a:off x="-55546" y="66454"/>
            <a:ext cx="11251630" cy="507704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xmlns="" id="{BE6E1CF5-59DA-43AB-9866-0328CF12083B}"/>
              </a:ext>
            </a:extLst>
          </p:cNvPr>
          <p:cNvSpPr/>
          <p:nvPr/>
        </p:nvSpPr>
        <p:spPr>
          <a:xfrm>
            <a:off x="-3" y="127067"/>
            <a:ext cx="11111023" cy="4949979"/>
          </a:xfrm>
          <a:prstGeom prst="homePlat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xmlns="" id="{5386A08B-7D7F-47E3-92B0-DE14688643F9}"/>
              </a:ext>
            </a:extLst>
          </p:cNvPr>
          <p:cNvSpPr/>
          <p:nvPr/>
        </p:nvSpPr>
        <p:spPr>
          <a:xfrm>
            <a:off x="-74428" y="146585"/>
            <a:ext cx="11129905" cy="4889366"/>
          </a:xfrm>
          <a:prstGeom prst="homePlat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	</a:t>
            </a:r>
          </a:p>
          <a:p>
            <a:r>
              <a:rPr lang="en-US" dirty="0">
                <a:solidFill>
                  <a:schemeClr val="tx1"/>
                </a:solidFill>
              </a:rPr>
              <a:t>	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1A6F54B5-0441-4560-B588-51F6748A10E7}"/>
              </a:ext>
            </a:extLst>
          </p:cNvPr>
          <p:cNvSpPr/>
          <p:nvPr/>
        </p:nvSpPr>
        <p:spPr>
          <a:xfrm>
            <a:off x="853933" y="303302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E76D8363-97F8-4D84-B055-4CAB5AF1B9B9}"/>
              </a:ext>
            </a:extLst>
          </p:cNvPr>
          <p:cNvSpPr/>
          <p:nvPr/>
        </p:nvSpPr>
        <p:spPr>
          <a:xfrm>
            <a:off x="1161896" y="303302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E1E5901C-75B9-4255-B79F-AFC39A71CB5A}"/>
              </a:ext>
            </a:extLst>
          </p:cNvPr>
          <p:cNvSpPr/>
          <p:nvPr/>
        </p:nvSpPr>
        <p:spPr>
          <a:xfrm>
            <a:off x="1777821" y="303302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5B68763A-C0FE-4288-99F2-5FD3D1D6259F}"/>
              </a:ext>
            </a:extLst>
          </p:cNvPr>
          <p:cNvSpPr/>
          <p:nvPr/>
        </p:nvSpPr>
        <p:spPr>
          <a:xfrm>
            <a:off x="2085784" y="303302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36678E34-C42F-4272-A80C-040E642AF4BE}"/>
              </a:ext>
            </a:extLst>
          </p:cNvPr>
          <p:cNvSpPr/>
          <p:nvPr/>
        </p:nvSpPr>
        <p:spPr>
          <a:xfrm>
            <a:off x="2393745" y="303302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12996ED4-A971-4578-B5CD-3D91B7A50B7D}"/>
              </a:ext>
            </a:extLst>
          </p:cNvPr>
          <p:cNvSpPr/>
          <p:nvPr/>
        </p:nvSpPr>
        <p:spPr>
          <a:xfrm>
            <a:off x="1469859" y="303302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xmlns="" id="{F4FC888B-7FCA-46F6-B3EA-F5E5A44DE1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03568" y="250851"/>
            <a:ext cx="1025765" cy="301519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xmlns="" id="{3AF8591F-F851-4C72-BCB4-63E779F403D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8170626" y="213443"/>
            <a:ext cx="387695" cy="395497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32CF610E-D2A5-47E4-B1DB-283D2024EC9F}"/>
              </a:ext>
            </a:extLst>
          </p:cNvPr>
          <p:cNvSpPr txBox="1"/>
          <p:nvPr/>
        </p:nvSpPr>
        <p:spPr>
          <a:xfrm>
            <a:off x="431180" y="871870"/>
            <a:ext cx="35163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m-KH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៣.​ កំណត់ </a:t>
            </a:r>
            <a:r>
              <a:rPr lang="en-US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Quota </a:t>
            </a:r>
            <a:r>
              <a:rPr lang="km-KH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ឲ្យ</a:t>
            </a:r>
            <a:r>
              <a:rPr lang="en-US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</a:t>
            </a:r>
            <a:r>
              <a:rPr lang="en-US" dirty="0" smtClean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Group </a:t>
            </a:r>
            <a:endParaRPr lang="en-US" dirty="0">
              <a:solidFill>
                <a:srgbClr val="FFFFFF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9D5736B0-2CE8-4293-A070-6758D69A31E6}"/>
              </a:ext>
            </a:extLst>
          </p:cNvPr>
          <p:cNvSpPr txBox="1"/>
          <p:nvPr/>
        </p:nvSpPr>
        <p:spPr>
          <a:xfrm>
            <a:off x="952242" y="1649906"/>
            <a:ext cx="6304157" cy="1815882"/>
          </a:xfrm>
          <a:prstGeom prst="rect">
            <a:avLst/>
          </a:prstGeom>
          <a:solidFill>
            <a:srgbClr val="000000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 possible to set on non-interactive mode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[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ot@dlp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~]# 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fs_quota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–x –c  ‘report –h –g ‘   /hom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oup quota on  /home (/dev/sdb1)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Block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oup ID         Used               Soft          Hard warn/Grac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---------------------------------------------------------------------------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ot	      0    	           0 	                 00 [------------]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ent	      16k	           9G           10G  00 [------------]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95324878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4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0FC3722-8F96-43A5-A133-2ADF5CE88875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xmlns="" id="{475343A4-333F-4558-9B30-BC15AAB1A318}"/>
              </a:ext>
            </a:extLst>
          </p:cNvPr>
          <p:cNvSpPr/>
          <p:nvPr/>
        </p:nvSpPr>
        <p:spPr>
          <a:xfrm>
            <a:off x="-50782" y="1"/>
            <a:ext cx="11302409" cy="519489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xmlns="" id="{925C2EED-F692-4F64-B5C8-DBB35B8EAE13}"/>
              </a:ext>
            </a:extLst>
          </p:cNvPr>
          <p:cNvSpPr/>
          <p:nvPr/>
        </p:nvSpPr>
        <p:spPr>
          <a:xfrm>
            <a:off x="-55546" y="66454"/>
            <a:ext cx="11251630" cy="507704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xmlns="" id="{BE6E1CF5-59DA-43AB-9866-0328CF12083B}"/>
              </a:ext>
            </a:extLst>
          </p:cNvPr>
          <p:cNvSpPr/>
          <p:nvPr/>
        </p:nvSpPr>
        <p:spPr>
          <a:xfrm>
            <a:off x="-3" y="127067"/>
            <a:ext cx="11111023" cy="4949979"/>
          </a:xfrm>
          <a:prstGeom prst="homePlat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xmlns="" id="{5386A08B-7D7F-47E3-92B0-DE14688643F9}"/>
              </a:ext>
            </a:extLst>
          </p:cNvPr>
          <p:cNvSpPr/>
          <p:nvPr/>
        </p:nvSpPr>
        <p:spPr>
          <a:xfrm>
            <a:off x="-74428" y="152763"/>
            <a:ext cx="11129905" cy="4889366"/>
          </a:xfrm>
          <a:prstGeom prst="homePlat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	</a:t>
            </a:r>
          </a:p>
          <a:p>
            <a:r>
              <a:rPr lang="en-US" dirty="0">
                <a:solidFill>
                  <a:schemeClr val="tx1"/>
                </a:solidFill>
              </a:rPr>
              <a:t>	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1A6F54B5-0441-4560-B588-51F6748A10E7}"/>
              </a:ext>
            </a:extLst>
          </p:cNvPr>
          <p:cNvSpPr/>
          <p:nvPr/>
        </p:nvSpPr>
        <p:spPr>
          <a:xfrm>
            <a:off x="853933" y="303302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E76D8363-97F8-4D84-B055-4CAB5AF1B9B9}"/>
              </a:ext>
            </a:extLst>
          </p:cNvPr>
          <p:cNvSpPr/>
          <p:nvPr/>
        </p:nvSpPr>
        <p:spPr>
          <a:xfrm>
            <a:off x="1161896" y="303302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E1E5901C-75B9-4255-B79F-AFC39A71CB5A}"/>
              </a:ext>
            </a:extLst>
          </p:cNvPr>
          <p:cNvSpPr/>
          <p:nvPr/>
        </p:nvSpPr>
        <p:spPr>
          <a:xfrm>
            <a:off x="1777821" y="303302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5B68763A-C0FE-4288-99F2-5FD3D1D6259F}"/>
              </a:ext>
            </a:extLst>
          </p:cNvPr>
          <p:cNvSpPr/>
          <p:nvPr/>
        </p:nvSpPr>
        <p:spPr>
          <a:xfrm>
            <a:off x="2085784" y="303302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36678E34-C42F-4272-A80C-040E642AF4BE}"/>
              </a:ext>
            </a:extLst>
          </p:cNvPr>
          <p:cNvSpPr/>
          <p:nvPr/>
        </p:nvSpPr>
        <p:spPr>
          <a:xfrm>
            <a:off x="2393745" y="303302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12996ED4-A971-4578-B5CD-3D91B7A50B7D}"/>
              </a:ext>
            </a:extLst>
          </p:cNvPr>
          <p:cNvSpPr/>
          <p:nvPr/>
        </p:nvSpPr>
        <p:spPr>
          <a:xfrm>
            <a:off x="1469859" y="303302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xmlns="" id="{F4FC888B-7FCA-46F6-B3EA-F5E5A44DE1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03568" y="250851"/>
            <a:ext cx="1025765" cy="301519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xmlns="" id="{3AF8591F-F851-4C72-BCB4-63E779F403D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8170626" y="213443"/>
            <a:ext cx="387695" cy="395497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4FBEEA48-6F94-4D37-BFB3-B92077BE7B1A}"/>
              </a:ext>
            </a:extLst>
          </p:cNvPr>
          <p:cNvSpPr txBox="1"/>
          <p:nvPr/>
        </p:nvSpPr>
        <p:spPr>
          <a:xfrm>
            <a:off x="415320" y="745446"/>
            <a:ext cx="87053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m-KH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៤. អ្នកអាចកំណត់ពីការព្រមាននៃ </a:t>
            </a:r>
            <a:r>
              <a:rPr lang="en-US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Quota  </a:t>
            </a:r>
            <a:r>
              <a:rPr lang="km-KH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ចំពោះការកំណត់បែបនេះគឺត្រូវការនូវ </a:t>
            </a:r>
            <a:r>
              <a:rPr lang="en-US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SMTP server </a:t>
            </a:r>
            <a:r>
              <a:rPr lang="km-KH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នៅលើ </a:t>
            </a:r>
            <a:r>
              <a:rPr lang="en-US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Server </a:t>
            </a:r>
            <a:r>
              <a:rPr lang="km-KH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របស់អ្នក។</a:t>
            </a:r>
            <a:r>
              <a:rPr lang="en-US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</a:t>
            </a:r>
          </a:p>
          <a:p>
            <a:endParaRPr lang="en-US" dirty="0">
              <a:solidFill>
                <a:srgbClr val="FFFFFF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2D0E7320-1A63-4901-A68B-6F4696601B43}"/>
              </a:ext>
            </a:extLst>
          </p:cNvPr>
          <p:cNvSpPr txBox="1"/>
          <p:nvPr/>
        </p:nvSpPr>
        <p:spPr>
          <a:xfrm>
            <a:off x="330256" y="1142973"/>
            <a:ext cx="8289073" cy="3631763"/>
          </a:xfrm>
          <a:prstGeom prst="rect">
            <a:avLst/>
          </a:prstGeom>
          <a:solidFill>
            <a:srgbClr val="000000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 if a user is over the limit when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rnquota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runs, following warning is sent </a:t>
            </a:r>
            <a:endParaRPr kumimoji="0" lang="km-KH" sz="1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DaunPenh" panose="01010101010101010101" pitchFamily="2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om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ot@dlp.srv.world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Fri  Oct  23  09:38:10    2011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turn-Path: &lt;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9"/>
              </a:rPr>
              <a:t>root@dlp.srv.world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gt;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-Original-To: cen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livered-To: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0"/>
              </a:rPr>
              <a:t>cent@dlp.world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om: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ot@srv.world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ply-To: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1"/>
              </a:rPr>
              <a:t>root@srv.world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bject: NOTE: You are exceeding your allocated desk space limit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c: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1"/>
              </a:rPr>
              <a:t>root@srv.world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tent-Type: text/plain; charset=UTF-8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tent-Disposition: inlin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e: Fri, 23 Oct 2011  09:38:10  +0900 (JST)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tus: R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our disk usage has exceeded the agreed limits on this server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ease delete any unnecessary files on following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lesystems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our Home Directory (/dev/sdb1)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		    Block limits		File limits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lesystem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	used         soft         hard     grace      used     soft      hard         grace      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dev/sdb1	           +-     4112M     4096M    5120M   6days      6          0          0       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ot@srv.world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	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22182472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8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0FC3722-8F96-43A5-A133-2ADF5CE88875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xmlns="" id="{475343A4-333F-4558-9B30-BC15AAB1A318}"/>
              </a:ext>
            </a:extLst>
          </p:cNvPr>
          <p:cNvSpPr/>
          <p:nvPr/>
        </p:nvSpPr>
        <p:spPr>
          <a:xfrm>
            <a:off x="-50782" y="1"/>
            <a:ext cx="11302409" cy="519489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xmlns="" id="{925C2EED-F692-4F64-B5C8-DBB35B8EAE13}"/>
              </a:ext>
            </a:extLst>
          </p:cNvPr>
          <p:cNvSpPr/>
          <p:nvPr/>
        </p:nvSpPr>
        <p:spPr>
          <a:xfrm>
            <a:off x="-55546" y="66454"/>
            <a:ext cx="11251630" cy="507704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xmlns="" id="{BE6E1CF5-59DA-43AB-9866-0328CF12083B}"/>
              </a:ext>
            </a:extLst>
          </p:cNvPr>
          <p:cNvSpPr/>
          <p:nvPr/>
        </p:nvSpPr>
        <p:spPr>
          <a:xfrm>
            <a:off x="-3" y="127067"/>
            <a:ext cx="11111023" cy="4949979"/>
          </a:xfrm>
          <a:prstGeom prst="homePlat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xmlns="" id="{5386A08B-7D7F-47E3-92B0-DE14688643F9}"/>
              </a:ext>
            </a:extLst>
          </p:cNvPr>
          <p:cNvSpPr/>
          <p:nvPr/>
        </p:nvSpPr>
        <p:spPr>
          <a:xfrm>
            <a:off x="-74428" y="152763"/>
            <a:ext cx="11129905" cy="4889366"/>
          </a:xfrm>
          <a:prstGeom prst="homePlat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	</a:t>
            </a:r>
          </a:p>
          <a:p>
            <a:r>
              <a:rPr lang="en-US" dirty="0">
                <a:solidFill>
                  <a:schemeClr val="tx1"/>
                </a:solidFill>
              </a:rPr>
              <a:t>	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1A6F54B5-0441-4560-B588-51F6748A10E7}"/>
              </a:ext>
            </a:extLst>
          </p:cNvPr>
          <p:cNvSpPr/>
          <p:nvPr/>
        </p:nvSpPr>
        <p:spPr>
          <a:xfrm>
            <a:off x="853933" y="303302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E76D8363-97F8-4D84-B055-4CAB5AF1B9B9}"/>
              </a:ext>
            </a:extLst>
          </p:cNvPr>
          <p:cNvSpPr/>
          <p:nvPr/>
        </p:nvSpPr>
        <p:spPr>
          <a:xfrm>
            <a:off x="1161896" y="303302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E1E5901C-75B9-4255-B79F-AFC39A71CB5A}"/>
              </a:ext>
            </a:extLst>
          </p:cNvPr>
          <p:cNvSpPr/>
          <p:nvPr/>
        </p:nvSpPr>
        <p:spPr>
          <a:xfrm>
            <a:off x="1777821" y="303302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5B68763A-C0FE-4288-99F2-5FD3D1D6259F}"/>
              </a:ext>
            </a:extLst>
          </p:cNvPr>
          <p:cNvSpPr/>
          <p:nvPr/>
        </p:nvSpPr>
        <p:spPr>
          <a:xfrm>
            <a:off x="2085784" y="303302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36678E34-C42F-4272-A80C-040E642AF4BE}"/>
              </a:ext>
            </a:extLst>
          </p:cNvPr>
          <p:cNvSpPr/>
          <p:nvPr/>
        </p:nvSpPr>
        <p:spPr>
          <a:xfrm>
            <a:off x="2393745" y="303302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12996ED4-A971-4578-B5CD-3D91B7A50B7D}"/>
              </a:ext>
            </a:extLst>
          </p:cNvPr>
          <p:cNvSpPr/>
          <p:nvPr/>
        </p:nvSpPr>
        <p:spPr>
          <a:xfrm>
            <a:off x="1469859" y="303302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xmlns="" id="{F4FC888B-7FCA-46F6-B3EA-F5E5A44DE1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03568" y="250851"/>
            <a:ext cx="1025765" cy="301519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xmlns="" id="{3AF8591F-F851-4C72-BCB4-63E779F403D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8170626" y="213443"/>
            <a:ext cx="387695" cy="395497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2C17E513-2753-4BC6-ACA4-D22708B85427}"/>
              </a:ext>
            </a:extLst>
          </p:cNvPr>
          <p:cNvSpPr txBox="1"/>
          <p:nvPr/>
        </p:nvSpPr>
        <p:spPr>
          <a:xfrm>
            <a:off x="557004" y="1190949"/>
            <a:ext cx="8029992" cy="2893100"/>
          </a:xfrm>
          <a:prstGeom prst="rect">
            <a:avLst/>
          </a:prstGeom>
          <a:solidFill>
            <a:srgbClr val="000000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 install 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rnquota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[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ot@dlp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~]# yum –y install quota-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rnquota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[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ot@dlp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~]# vi /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c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otab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 add device and description which quota is set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dev/sdb1: Your Home Director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 change domain name to your own on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[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ot@dlp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~]# 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d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–I –e “ s/example\.com/server\.world/g” /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c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rnquota.conf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 run 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rnquota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[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ot@dlp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~]# 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rnquota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-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66304444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2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983EDB11-5B99-4F09-9BC7-D746870E1C4E}"/>
              </a:ext>
            </a:extLst>
          </p:cNvPr>
          <p:cNvSpPr/>
          <p:nvPr/>
        </p:nvSpPr>
        <p:spPr>
          <a:xfrm>
            <a:off x="874767" y="1533036"/>
            <a:ext cx="3129771" cy="166574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tIns="54864" rIns="54864" bIns="54864" numCol="1" rtlCol="0" anchor="ctr"/>
          <a:lstStyle/>
          <a:p>
            <a:pPr marL="0" marR="0" lvl="0" indent="0" algn="ctr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925" b="0" i="0" u="none" strike="noStrike" kern="0" cap="none" spc="0" normalizeH="0" baseline="0" noProof="0" dirty="0">
                <a:ln>
                  <a:noFill/>
                </a:ln>
                <a:solidFill>
                  <a:srgbClr val="273C75">
                    <a:lumMod val="20000"/>
                    <a:lumOff val="80000"/>
                  </a:srgbClr>
                </a:solidFill>
                <a:effectLst/>
                <a:uLnTx/>
                <a:uFillTx/>
                <a:latin typeface="សម្រាប់កូនខ្មែរ" panose="02000500000000020004" pitchFamily="2" charset="0"/>
                <a:ea typeface="+mn-ea"/>
                <a:cs typeface="សម្រាប់កូនខ្មែរ" panose="02000500000000020004" pitchFamily="2" charset="0"/>
                <a:sym typeface="Arial"/>
              </a:rPr>
              <a:t>3.2</a:t>
            </a:r>
            <a:endParaRPr kumimoji="0" lang="en-US" sz="750" b="0" i="0" u="none" strike="noStrike" kern="0" cap="none" spc="0" normalizeH="0" baseline="0" noProof="0" dirty="0">
              <a:ln>
                <a:noFill/>
              </a:ln>
              <a:solidFill>
                <a:srgbClr val="273C75">
                  <a:lumMod val="20000"/>
                  <a:lumOff val="80000"/>
                </a:srgbClr>
              </a:solidFill>
              <a:effectLst/>
              <a:uLnTx/>
              <a:uFillTx/>
              <a:latin typeface="សម្រាប់កូនខ្មែរ" panose="02000500000000020004" pitchFamily="2" charset="0"/>
              <a:ea typeface="+mn-ea"/>
              <a:cs typeface="សម្រាប់កូនខ្មែរ" panose="02000500000000020004" pitchFamily="2" charset="0"/>
              <a:sym typeface="Arial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CA0D9CDC-ABFA-43C8-8F37-F5B8682C8A96}"/>
              </a:ext>
            </a:extLst>
          </p:cNvPr>
          <p:cNvSpPr/>
          <p:nvPr/>
        </p:nvSpPr>
        <p:spPr>
          <a:xfrm>
            <a:off x="4025398" y="1478151"/>
            <a:ext cx="4143126" cy="19485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altLang="de-DE" sz="1350" b="0" i="0" u="none" strike="noStrike" kern="120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72BA5E31-8C76-4878-8E9A-40C31B4AFA64}"/>
              </a:ext>
            </a:extLst>
          </p:cNvPr>
          <p:cNvSpPr/>
          <p:nvPr/>
        </p:nvSpPr>
        <p:spPr>
          <a:xfrm>
            <a:off x="4125685" y="1102890"/>
            <a:ext cx="5018315" cy="26990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altLang="de-DE" sz="1350" b="0" i="0" u="none" strike="noStrike" kern="120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33CFFF82-1DE1-4847-A9A2-AA670A313F9F}"/>
              </a:ext>
            </a:extLst>
          </p:cNvPr>
          <p:cNvSpPr txBox="1"/>
          <p:nvPr/>
        </p:nvSpPr>
        <p:spPr>
          <a:xfrm>
            <a:off x="4401801" y="1603158"/>
            <a:ext cx="1261564" cy="738664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km-KH" altLang="de-DE" sz="4800" b="0" i="0" u="none" strike="noStrike" kern="0" cap="none" spc="0" normalizeH="0" baseline="0" noProof="0" dirty="0">
                <a:ln>
                  <a:noFill/>
                </a:ln>
                <a:solidFill>
                  <a:srgbClr val="FF560D"/>
                </a:solidFill>
                <a:effectLst/>
                <a:uLnTx/>
                <a:uFillTx/>
                <a:latin typeface="Khmer Moul" panose="02060603050605020204" pitchFamily="18" charset="0"/>
                <a:cs typeface="MoolBoran" panose="020B0100010101010101" pitchFamily="34" charset="0"/>
                <a:sym typeface="Arial"/>
              </a:rPr>
              <a:t>ជំពូកទី</a:t>
            </a:r>
            <a:r>
              <a:rPr kumimoji="0" lang="en-US" altLang="de-DE" sz="3600" b="0" i="0" u="none" strike="noStrike" kern="0" cap="none" spc="0" normalizeH="0" baseline="0" noProof="0" dirty="0">
                <a:ln>
                  <a:noFill/>
                </a:ln>
                <a:solidFill>
                  <a:srgbClr val="FF560D"/>
                </a:solidFill>
                <a:effectLst/>
                <a:uLnTx/>
                <a:uFillTx/>
                <a:latin typeface="Khmer Moul" panose="02060603050605020204" pitchFamily="18" charset="0"/>
                <a:cs typeface="Arial"/>
                <a:sym typeface="Arial"/>
              </a:rPr>
              <a:t>6</a:t>
            </a:r>
            <a:endParaRPr kumimoji="0" lang="de-DE" altLang="de-DE" sz="4800" b="0" i="0" u="none" strike="noStrike" kern="0" cap="none" spc="0" normalizeH="0" baseline="0" noProof="0" dirty="0">
              <a:ln>
                <a:noFill/>
              </a:ln>
              <a:solidFill>
                <a:srgbClr val="FF560D"/>
              </a:solidFill>
              <a:effectLst/>
              <a:uLnTx/>
              <a:uFillTx/>
              <a:latin typeface="Khmer Moul" panose="02060603050605020204" pitchFamily="18" charset="0"/>
              <a:cs typeface="Arial"/>
              <a:sym typeface="Arial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0681B20C-C864-4359-BC1C-DFEC6BA765B5}"/>
              </a:ext>
            </a:extLst>
          </p:cNvPr>
          <p:cNvSpPr txBox="1"/>
          <p:nvPr/>
        </p:nvSpPr>
        <p:spPr>
          <a:xfrm>
            <a:off x="4401801" y="2470891"/>
            <a:ext cx="4233678" cy="738664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lvl="0" defTabSz="685800">
              <a:buClrTx/>
            </a:pPr>
            <a:r>
              <a:rPr lang="km-KH" altLang="de-DE" sz="2400" b="1" kern="1200" dirty="0">
                <a:solidFill>
                  <a:srgbClr val="7F8FA1"/>
                </a:solidFill>
                <a:latin typeface="Ang DaunKeo" panose="020B0503020102020204" pitchFamily="34" charset="0"/>
                <a:ea typeface="+mn-ea"/>
                <a:cs typeface="Ang DaunKeo" panose="020B0503020102020204" pitchFamily="34" charset="0"/>
              </a:rPr>
              <a:t>ការកំណត់ </a:t>
            </a:r>
            <a:r>
              <a:rPr lang="en-US" altLang="de-DE" sz="2400" b="1" kern="1200" dirty="0">
                <a:solidFill>
                  <a:srgbClr val="7F8FA1"/>
                </a:solidFill>
                <a:latin typeface="Ang DaunKeo" panose="020B0503020102020204" pitchFamily="34" charset="0"/>
                <a:ea typeface="+mn-ea"/>
                <a:cs typeface="Ang DaunKeo" panose="020B0503020102020204" pitchFamily="34" charset="0"/>
              </a:rPr>
              <a:t>Quota </a:t>
            </a:r>
            <a:r>
              <a:rPr lang="km-KH" altLang="de-DE" sz="2400" b="1" kern="1200" dirty="0">
                <a:solidFill>
                  <a:srgbClr val="7F8FA1"/>
                </a:solidFill>
                <a:latin typeface="Ang DaunKeo" panose="020B0503020102020204" pitchFamily="34" charset="0"/>
                <a:ea typeface="+mn-ea"/>
                <a:cs typeface="Ang DaunKeo" panose="020B0503020102020204" pitchFamily="34" charset="0"/>
              </a:rPr>
              <a:t>ដែល </a:t>
            </a:r>
            <a:r>
              <a:rPr lang="en-US" altLang="de-DE" sz="2400" b="1" kern="1200" dirty="0">
                <a:solidFill>
                  <a:srgbClr val="7F8FA1"/>
                </a:solidFill>
                <a:latin typeface="Ang DaunKeo" panose="020B0503020102020204" pitchFamily="34" charset="0"/>
                <a:ea typeface="+mn-ea"/>
                <a:cs typeface="Ang DaunKeo" panose="020B0503020102020204" pitchFamily="34" charset="0"/>
              </a:rPr>
              <a:t>Mount point </a:t>
            </a:r>
            <a:r>
              <a:rPr lang="km-KH" altLang="de-DE" sz="2400" b="1" kern="1200" dirty="0">
                <a:solidFill>
                  <a:srgbClr val="7F8FA1"/>
                </a:solidFill>
                <a:latin typeface="Ang DaunKeo" panose="020B0503020102020204" pitchFamily="34" charset="0"/>
                <a:ea typeface="+mn-ea"/>
                <a:cs typeface="Ang DaunKeo" panose="020B0503020102020204" pitchFamily="34" charset="0"/>
              </a:rPr>
              <a:t>ត្រូវបាន </a:t>
            </a:r>
            <a:r>
              <a:rPr lang="en-US" altLang="de-DE" sz="2400" b="1" kern="1200" dirty="0">
                <a:solidFill>
                  <a:srgbClr val="7F8FA1"/>
                </a:solidFill>
                <a:latin typeface="Ang DaunKeo" panose="020B0503020102020204" pitchFamily="34" charset="0"/>
                <a:ea typeface="+mn-ea"/>
                <a:cs typeface="Ang DaunKeo" panose="020B0503020102020204" pitchFamily="34" charset="0"/>
              </a:rPr>
              <a:t>Format </a:t>
            </a:r>
            <a:r>
              <a:rPr lang="km-KH" altLang="de-DE" sz="2400" b="1" kern="1200" dirty="0">
                <a:solidFill>
                  <a:srgbClr val="7F8FA1"/>
                </a:solidFill>
                <a:latin typeface="Ang DaunKeo" panose="020B0503020102020204" pitchFamily="34" charset="0"/>
                <a:ea typeface="+mn-ea"/>
                <a:cs typeface="Ang DaunKeo" panose="020B0503020102020204" pitchFamily="34" charset="0"/>
              </a:rPr>
              <a:t>ជា </a:t>
            </a:r>
            <a:r>
              <a:rPr lang="en-US" altLang="de-DE" sz="2400" b="1" kern="1200" dirty="0">
                <a:solidFill>
                  <a:srgbClr val="7F8FA1"/>
                </a:solidFill>
                <a:latin typeface="Ang DaunKeo" panose="020B0503020102020204" pitchFamily="34" charset="0"/>
                <a:ea typeface="+mn-ea"/>
                <a:cs typeface="Ang DaunKeo" panose="020B0503020102020204" pitchFamily="34" charset="0"/>
              </a:rPr>
              <a:t>Ex4</a:t>
            </a:r>
            <a:endParaRPr kumimoji="0" lang="en-US" altLang="de-DE" sz="2400" b="1" i="0" u="none" strike="noStrike" kern="1200" cap="none" spc="0" normalizeH="0" baseline="0" noProof="0" dirty="0">
              <a:ln>
                <a:noFill/>
              </a:ln>
              <a:solidFill>
                <a:srgbClr val="7F8FA1"/>
              </a:solidFill>
              <a:effectLst/>
              <a:uLnTx/>
              <a:uFillTx/>
              <a:latin typeface="Ang DaunKeo" panose="020B0503020102020204" pitchFamily="34" charset="0"/>
              <a:ea typeface="+mn-ea"/>
              <a:cs typeface="Ang DaunKeo" panose="020B0503020102020204" pitchFamily="34" charset="0"/>
              <a:sym typeface="Arial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76288579-3125-46D7-9623-35ADD216FC3C}"/>
              </a:ext>
            </a:extLst>
          </p:cNvPr>
          <p:cNvSpPr/>
          <p:nvPr/>
        </p:nvSpPr>
        <p:spPr>
          <a:xfrm>
            <a:off x="7612912" y="159488"/>
            <a:ext cx="1297172" cy="824075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C62D03D0-3799-486F-BE25-98B338BBA2CC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5265252A-4A61-4C97-ACF0-267DFDA6EA10}"/>
              </a:ext>
            </a:extLst>
          </p:cNvPr>
          <p:cNvSpPr/>
          <p:nvPr/>
        </p:nvSpPr>
        <p:spPr>
          <a:xfrm>
            <a:off x="6861336" y="196976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5C0229FD-3CCD-4ED5-AB40-5D5D89BB8D8A}"/>
              </a:ext>
            </a:extLst>
          </p:cNvPr>
          <p:cNvSpPr/>
          <p:nvPr/>
        </p:nvSpPr>
        <p:spPr>
          <a:xfrm>
            <a:off x="7169299" y="196976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BA9159E5-654D-4B2E-B309-FC140B1601EE}"/>
              </a:ext>
            </a:extLst>
          </p:cNvPr>
          <p:cNvSpPr/>
          <p:nvPr/>
        </p:nvSpPr>
        <p:spPr>
          <a:xfrm>
            <a:off x="7785224" y="196976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36E2B986-B882-495B-AF8A-E89E082FAF1B}"/>
              </a:ext>
            </a:extLst>
          </p:cNvPr>
          <p:cNvSpPr/>
          <p:nvPr/>
        </p:nvSpPr>
        <p:spPr>
          <a:xfrm>
            <a:off x="8093187" y="196976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5C4AE9F8-1ABB-4B0C-8524-9EF0E18E8845}"/>
              </a:ext>
            </a:extLst>
          </p:cNvPr>
          <p:cNvSpPr/>
          <p:nvPr/>
        </p:nvSpPr>
        <p:spPr>
          <a:xfrm>
            <a:off x="8401148" y="196976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AE02A55D-9224-441D-92AF-7705A4E490B1}"/>
              </a:ext>
            </a:extLst>
          </p:cNvPr>
          <p:cNvSpPr/>
          <p:nvPr/>
        </p:nvSpPr>
        <p:spPr>
          <a:xfrm>
            <a:off x="7477262" y="196976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F889BC99-6B6B-43F1-A3D0-70E8555418F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0330" y="144525"/>
            <a:ext cx="1025765" cy="30151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xmlns="" id="{CE50F67F-8CD0-47E1-A787-B994CD16C410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1897388" y="107117"/>
            <a:ext cx="387695" cy="395497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37565368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2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2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9" grpId="0"/>
      <p:bldP spid="20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6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0FC3722-8F96-43A5-A133-2ADF5CE88875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xmlns="" id="{475343A4-333F-4558-9B30-BC15AAB1A318}"/>
              </a:ext>
            </a:extLst>
          </p:cNvPr>
          <p:cNvSpPr/>
          <p:nvPr/>
        </p:nvSpPr>
        <p:spPr>
          <a:xfrm>
            <a:off x="-50782" y="1"/>
            <a:ext cx="11302409" cy="519489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xmlns="" id="{925C2EED-F692-4F64-B5C8-DBB35B8EAE13}"/>
              </a:ext>
            </a:extLst>
          </p:cNvPr>
          <p:cNvSpPr/>
          <p:nvPr/>
        </p:nvSpPr>
        <p:spPr>
          <a:xfrm>
            <a:off x="-55546" y="66454"/>
            <a:ext cx="11251630" cy="507704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xmlns="" id="{BE6E1CF5-59DA-43AB-9866-0328CF12083B}"/>
              </a:ext>
            </a:extLst>
          </p:cNvPr>
          <p:cNvSpPr/>
          <p:nvPr/>
        </p:nvSpPr>
        <p:spPr>
          <a:xfrm>
            <a:off x="-3" y="127067"/>
            <a:ext cx="11111023" cy="4949979"/>
          </a:xfrm>
          <a:prstGeom prst="homePlat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xmlns="" id="{5386A08B-7D7F-47E3-92B0-DE14688643F9}"/>
              </a:ext>
            </a:extLst>
          </p:cNvPr>
          <p:cNvSpPr/>
          <p:nvPr/>
        </p:nvSpPr>
        <p:spPr>
          <a:xfrm>
            <a:off x="-74428" y="152763"/>
            <a:ext cx="11129905" cy="4889366"/>
          </a:xfrm>
          <a:prstGeom prst="homePlat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	</a:t>
            </a:r>
          </a:p>
          <a:p>
            <a:r>
              <a:rPr lang="en-US" dirty="0">
                <a:solidFill>
                  <a:schemeClr val="tx1"/>
                </a:solidFill>
              </a:rPr>
              <a:t>	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1A6F54B5-0441-4560-B588-51F6748A10E7}"/>
              </a:ext>
            </a:extLst>
          </p:cNvPr>
          <p:cNvSpPr/>
          <p:nvPr/>
        </p:nvSpPr>
        <p:spPr>
          <a:xfrm>
            <a:off x="853933" y="303302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E76D8363-97F8-4D84-B055-4CAB5AF1B9B9}"/>
              </a:ext>
            </a:extLst>
          </p:cNvPr>
          <p:cNvSpPr/>
          <p:nvPr/>
        </p:nvSpPr>
        <p:spPr>
          <a:xfrm>
            <a:off x="1161896" y="303302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E1E5901C-75B9-4255-B79F-AFC39A71CB5A}"/>
              </a:ext>
            </a:extLst>
          </p:cNvPr>
          <p:cNvSpPr/>
          <p:nvPr/>
        </p:nvSpPr>
        <p:spPr>
          <a:xfrm>
            <a:off x="1777821" y="303302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5B68763A-C0FE-4288-99F2-5FD3D1D6259F}"/>
              </a:ext>
            </a:extLst>
          </p:cNvPr>
          <p:cNvSpPr/>
          <p:nvPr/>
        </p:nvSpPr>
        <p:spPr>
          <a:xfrm>
            <a:off x="2085784" y="303302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36678E34-C42F-4272-A80C-040E642AF4BE}"/>
              </a:ext>
            </a:extLst>
          </p:cNvPr>
          <p:cNvSpPr/>
          <p:nvPr/>
        </p:nvSpPr>
        <p:spPr>
          <a:xfrm>
            <a:off x="2393745" y="303302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12996ED4-A971-4578-B5CD-3D91B7A50B7D}"/>
              </a:ext>
            </a:extLst>
          </p:cNvPr>
          <p:cNvSpPr/>
          <p:nvPr/>
        </p:nvSpPr>
        <p:spPr>
          <a:xfrm>
            <a:off x="1469859" y="303302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xmlns="" id="{F4FC888B-7FCA-46F6-B3EA-F5E5A44DE1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03568" y="250851"/>
            <a:ext cx="1025765" cy="301519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xmlns="" id="{3AF8591F-F851-4C72-BCB4-63E779F403D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8170626" y="213443"/>
            <a:ext cx="387695" cy="395497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1F53DD9D-08C7-43A9-B52F-A9D8AB6DF446}"/>
              </a:ext>
            </a:extLst>
          </p:cNvPr>
          <p:cNvSpPr txBox="1"/>
          <p:nvPr/>
        </p:nvSpPr>
        <p:spPr>
          <a:xfrm>
            <a:off x="914400" y="931746"/>
            <a:ext cx="64825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m-KH" dirty="0">
                <a:solidFill>
                  <a:srgbClr val="FFFFFF"/>
                </a:solidFill>
                <a:latin typeface="Khmer OS Battambang" panose="02000500000000020004" pitchFamily="2" charset="0"/>
                <a:cs typeface="Khmer OS Battambang" panose="02000500000000020004" pitchFamily="2" charset="0"/>
              </a:rPr>
              <a:t>១. ដំឡើង </a:t>
            </a:r>
            <a:r>
              <a:rPr lang="en-US" dirty="0">
                <a:solidFill>
                  <a:srgbClr val="FFFFFF"/>
                </a:solidFill>
                <a:latin typeface="Khmer OS Battambang" panose="02000500000000020004" pitchFamily="2" charset="0"/>
                <a:cs typeface="Khmer OS Battambang" panose="02000500000000020004" pitchFamily="2" charset="0"/>
              </a:rPr>
              <a:t>quota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0BA164C0-761D-4547-A2B4-29EF28AAFC4A}"/>
              </a:ext>
            </a:extLst>
          </p:cNvPr>
          <p:cNvSpPr txBox="1"/>
          <p:nvPr/>
        </p:nvSpPr>
        <p:spPr>
          <a:xfrm>
            <a:off x="1030518" y="1465010"/>
            <a:ext cx="6385932" cy="307777"/>
          </a:xfrm>
          <a:prstGeom prst="rect">
            <a:avLst/>
          </a:prstGeom>
          <a:solidFill>
            <a:srgbClr val="000000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[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ot@dlp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~]# yum –y install quota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56356093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0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0FC3722-8F96-43A5-A133-2ADF5CE88875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xmlns="" id="{475343A4-333F-4558-9B30-BC15AAB1A318}"/>
              </a:ext>
            </a:extLst>
          </p:cNvPr>
          <p:cNvSpPr/>
          <p:nvPr/>
        </p:nvSpPr>
        <p:spPr>
          <a:xfrm>
            <a:off x="-50782" y="1"/>
            <a:ext cx="11302409" cy="519489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xmlns="" id="{925C2EED-F692-4F64-B5C8-DBB35B8EAE13}"/>
              </a:ext>
            </a:extLst>
          </p:cNvPr>
          <p:cNvSpPr/>
          <p:nvPr/>
        </p:nvSpPr>
        <p:spPr>
          <a:xfrm>
            <a:off x="-55546" y="66454"/>
            <a:ext cx="11251630" cy="507704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xmlns="" id="{BE6E1CF5-59DA-43AB-9866-0328CF12083B}"/>
              </a:ext>
            </a:extLst>
          </p:cNvPr>
          <p:cNvSpPr/>
          <p:nvPr/>
        </p:nvSpPr>
        <p:spPr>
          <a:xfrm>
            <a:off x="-3" y="127067"/>
            <a:ext cx="11111023" cy="4949979"/>
          </a:xfrm>
          <a:prstGeom prst="homePlat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xmlns="" id="{5386A08B-7D7F-47E3-92B0-DE14688643F9}"/>
              </a:ext>
            </a:extLst>
          </p:cNvPr>
          <p:cNvSpPr/>
          <p:nvPr/>
        </p:nvSpPr>
        <p:spPr>
          <a:xfrm>
            <a:off x="-74428" y="152763"/>
            <a:ext cx="11129905" cy="4889366"/>
          </a:xfrm>
          <a:prstGeom prst="homePlat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	</a:t>
            </a:r>
          </a:p>
          <a:p>
            <a:r>
              <a:rPr lang="en-US" dirty="0">
                <a:solidFill>
                  <a:schemeClr val="tx1"/>
                </a:solidFill>
              </a:rPr>
              <a:t>	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1A6F54B5-0441-4560-B588-51F6748A10E7}"/>
              </a:ext>
            </a:extLst>
          </p:cNvPr>
          <p:cNvSpPr/>
          <p:nvPr/>
        </p:nvSpPr>
        <p:spPr>
          <a:xfrm>
            <a:off x="853933" y="303302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E76D8363-97F8-4D84-B055-4CAB5AF1B9B9}"/>
              </a:ext>
            </a:extLst>
          </p:cNvPr>
          <p:cNvSpPr/>
          <p:nvPr/>
        </p:nvSpPr>
        <p:spPr>
          <a:xfrm>
            <a:off x="1161896" y="303302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E1E5901C-75B9-4255-B79F-AFC39A71CB5A}"/>
              </a:ext>
            </a:extLst>
          </p:cNvPr>
          <p:cNvSpPr/>
          <p:nvPr/>
        </p:nvSpPr>
        <p:spPr>
          <a:xfrm>
            <a:off x="1777821" y="303302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5B68763A-C0FE-4288-99F2-5FD3D1D6259F}"/>
              </a:ext>
            </a:extLst>
          </p:cNvPr>
          <p:cNvSpPr/>
          <p:nvPr/>
        </p:nvSpPr>
        <p:spPr>
          <a:xfrm>
            <a:off x="2085784" y="303302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36678E34-C42F-4272-A80C-040E642AF4BE}"/>
              </a:ext>
            </a:extLst>
          </p:cNvPr>
          <p:cNvSpPr/>
          <p:nvPr/>
        </p:nvSpPr>
        <p:spPr>
          <a:xfrm>
            <a:off x="2393745" y="303302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12996ED4-A971-4578-B5CD-3D91B7A50B7D}"/>
              </a:ext>
            </a:extLst>
          </p:cNvPr>
          <p:cNvSpPr/>
          <p:nvPr/>
        </p:nvSpPr>
        <p:spPr>
          <a:xfrm>
            <a:off x="1469859" y="303302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xmlns="" id="{F4FC888B-7FCA-46F6-B3EA-F5E5A44DE1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03568" y="250851"/>
            <a:ext cx="1025765" cy="301519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xmlns="" id="{3AF8591F-F851-4C72-BCB4-63E779F403D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8170626" y="213443"/>
            <a:ext cx="387695" cy="395497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7EAD4590-2FE1-451C-904F-A64B99EFA1C4}"/>
              </a:ext>
            </a:extLst>
          </p:cNvPr>
          <p:cNvSpPr txBox="1"/>
          <p:nvPr/>
        </p:nvSpPr>
        <p:spPr>
          <a:xfrm>
            <a:off x="467898" y="1418362"/>
            <a:ext cx="8170580" cy="3108543"/>
          </a:xfrm>
          <a:prstGeom prst="rect">
            <a:avLst/>
          </a:prstGeom>
          <a:solidFill>
            <a:srgbClr val="000000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[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ot@dlp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~]# 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mount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/hom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[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ot@dlp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~]# mount -0 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rquota,grpquota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/dev/sdb1 /hom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[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ot@dlp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~]# vi /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c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stab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 add options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dev/mapper/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olGroup-lv_root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/                     ext4      defaults          1 1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UID=cf3f9660-e40d-459d-8763 /boot          ext4      defaults          1 2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dev/mapper/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olGroup-lv_swap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wap            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wap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defaults          0 0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mpfs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/dev/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hm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mpfs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defaults      0 0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vpts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/dev/pts             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vpts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id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5,mode=620      0 0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ysfs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/sys                  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ysfs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defaults                  0 0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c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/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c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c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defaults                     0 0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dev/sdb1                            /home              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fs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faults,usrquota,grpquota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0 0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79BECC25-ECE8-46F1-9EFC-D20E55872081}"/>
              </a:ext>
            </a:extLst>
          </p:cNvPr>
          <p:cNvSpPr txBox="1"/>
          <p:nvPr/>
        </p:nvSpPr>
        <p:spPr>
          <a:xfrm>
            <a:off x="467898" y="809207"/>
            <a:ext cx="512212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m-KH" dirty="0">
                <a:solidFill>
                  <a:srgbClr val="FFFFFF"/>
                </a:solidFill>
                <a:latin typeface="Khmer OS Battambang" panose="02000500000000020004" pitchFamily="2" charset="0"/>
                <a:cs typeface="Khmer OS Battambang" panose="02000500000000020004" pitchFamily="2" charset="0"/>
              </a:rPr>
              <a:t>២. បើក </a:t>
            </a:r>
            <a:r>
              <a:rPr lang="en-US" dirty="0">
                <a:solidFill>
                  <a:srgbClr val="FFFFFF"/>
                </a:solidFill>
                <a:latin typeface="Khmer OS Battambang" panose="02000500000000020004" pitchFamily="2" charset="0"/>
                <a:cs typeface="Khmer OS Battambang" panose="02000500000000020004" pitchFamily="2" charset="0"/>
              </a:rPr>
              <a:t>Quota </a:t>
            </a:r>
            <a:r>
              <a:rPr lang="km-KH" dirty="0">
                <a:solidFill>
                  <a:srgbClr val="FFFFFF"/>
                </a:solidFill>
                <a:latin typeface="Khmer OS Battambang" panose="02000500000000020004" pitchFamily="2" charset="0"/>
                <a:cs typeface="Khmer OS Battambang" panose="02000500000000020004" pitchFamily="2" charset="0"/>
              </a:rPr>
              <a:t>ដើម្បីបន្ថែម </a:t>
            </a:r>
            <a:r>
              <a:rPr lang="en-US" dirty="0">
                <a:solidFill>
                  <a:srgbClr val="FFFFFF"/>
                </a:solidFill>
                <a:latin typeface="Khmer OS Battambang" panose="02000500000000020004" pitchFamily="2" charset="0"/>
                <a:cs typeface="Khmer OS Battambang" panose="02000500000000020004" pitchFamily="2" charset="0"/>
              </a:rPr>
              <a:t>mount option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467902408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4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0FC3722-8F96-43A5-A133-2ADF5CE88875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xmlns="" id="{475343A4-333F-4558-9B30-BC15AAB1A318}"/>
              </a:ext>
            </a:extLst>
          </p:cNvPr>
          <p:cNvSpPr/>
          <p:nvPr/>
        </p:nvSpPr>
        <p:spPr>
          <a:xfrm>
            <a:off x="-50782" y="1"/>
            <a:ext cx="11302409" cy="519489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xmlns="" id="{925C2EED-F692-4F64-B5C8-DBB35B8EAE13}"/>
              </a:ext>
            </a:extLst>
          </p:cNvPr>
          <p:cNvSpPr/>
          <p:nvPr/>
        </p:nvSpPr>
        <p:spPr>
          <a:xfrm>
            <a:off x="-55546" y="66454"/>
            <a:ext cx="11251630" cy="507704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xmlns="" id="{BE6E1CF5-59DA-43AB-9866-0328CF12083B}"/>
              </a:ext>
            </a:extLst>
          </p:cNvPr>
          <p:cNvSpPr/>
          <p:nvPr/>
        </p:nvSpPr>
        <p:spPr>
          <a:xfrm>
            <a:off x="-3" y="127067"/>
            <a:ext cx="11111023" cy="4949979"/>
          </a:xfrm>
          <a:prstGeom prst="homePlat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xmlns="" id="{5386A08B-7D7F-47E3-92B0-DE14688643F9}"/>
              </a:ext>
            </a:extLst>
          </p:cNvPr>
          <p:cNvSpPr/>
          <p:nvPr/>
        </p:nvSpPr>
        <p:spPr>
          <a:xfrm>
            <a:off x="-74428" y="152763"/>
            <a:ext cx="11129905" cy="4889366"/>
          </a:xfrm>
          <a:prstGeom prst="homePlat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	</a:t>
            </a:r>
          </a:p>
          <a:p>
            <a:r>
              <a:rPr lang="en-US" dirty="0">
                <a:solidFill>
                  <a:schemeClr val="tx1"/>
                </a:solidFill>
              </a:rPr>
              <a:t>	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1A6F54B5-0441-4560-B588-51F6748A10E7}"/>
              </a:ext>
            </a:extLst>
          </p:cNvPr>
          <p:cNvSpPr/>
          <p:nvPr/>
        </p:nvSpPr>
        <p:spPr>
          <a:xfrm>
            <a:off x="853933" y="303302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E76D8363-97F8-4D84-B055-4CAB5AF1B9B9}"/>
              </a:ext>
            </a:extLst>
          </p:cNvPr>
          <p:cNvSpPr/>
          <p:nvPr/>
        </p:nvSpPr>
        <p:spPr>
          <a:xfrm>
            <a:off x="1161896" y="303302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E1E5901C-75B9-4255-B79F-AFC39A71CB5A}"/>
              </a:ext>
            </a:extLst>
          </p:cNvPr>
          <p:cNvSpPr/>
          <p:nvPr/>
        </p:nvSpPr>
        <p:spPr>
          <a:xfrm>
            <a:off x="1777821" y="303302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5B68763A-C0FE-4288-99F2-5FD3D1D6259F}"/>
              </a:ext>
            </a:extLst>
          </p:cNvPr>
          <p:cNvSpPr/>
          <p:nvPr/>
        </p:nvSpPr>
        <p:spPr>
          <a:xfrm>
            <a:off x="2085784" y="303302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36678E34-C42F-4272-A80C-040E642AF4BE}"/>
              </a:ext>
            </a:extLst>
          </p:cNvPr>
          <p:cNvSpPr/>
          <p:nvPr/>
        </p:nvSpPr>
        <p:spPr>
          <a:xfrm>
            <a:off x="2393745" y="303302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12996ED4-A971-4578-B5CD-3D91B7A50B7D}"/>
              </a:ext>
            </a:extLst>
          </p:cNvPr>
          <p:cNvSpPr/>
          <p:nvPr/>
        </p:nvSpPr>
        <p:spPr>
          <a:xfrm>
            <a:off x="1469859" y="303302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xmlns="" id="{F4FC888B-7FCA-46F6-B3EA-F5E5A44DE1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03568" y="250851"/>
            <a:ext cx="1025765" cy="301519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xmlns="" id="{3AF8591F-F851-4C72-BCB4-63E779F403D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8170626" y="213443"/>
            <a:ext cx="387695" cy="395497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538E64BA-317D-4554-B1C7-67DFEA914DD2}"/>
              </a:ext>
            </a:extLst>
          </p:cNvPr>
          <p:cNvSpPr txBox="1"/>
          <p:nvPr/>
        </p:nvSpPr>
        <p:spPr>
          <a:xfrm>
            <a:off x="494371" y="828081"/>
            <a:ext cx="8155258" cy="4131900"/>
          </a:xfrm>
          <a:prstGeom prst="rect">
            <a:avLst/>
          </a:prstGeom>
          <a:solidFill>
            <a:srgbClr val="000000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 enable </a:t>
            </a:r>
            <a:r>
              <a:rPr kumimoji="0" lang="en-US" sz="105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otaon</a:t>
            </a: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–</a:t>
            </a:r>
            <a:r>
              <a:rPr kumimoji="0" lang="en-US" sz="105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v</a:t>
            </a: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/hom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dev/sdb1 [/home]: user quotas turned on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 show statu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[</a:t>
            </a:r>
            <a:r>
              <a:rPr kumimoji="0" lang="en-US" sz="105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ot@dlp</a:t>
            </a: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~]# </a:t>
            </a:r>
            <a:r>
              <a:rPr kumimoji="0" lang="en-US" sz="105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otaon</a:t>
            </a: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–</a:t>
            </a:r>
            <a:r>
              <a:rPr kumimoji="0" lang="en-US" sz="105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p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oup quota on /home (/dev/sdb1) is off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er quota on /home (/dev/sdb1) is on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 set quota to “cent”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[</a:t>
            </a:r>
            <a:r>
              <a:rPr kumimoji="0" lang="en-US" sz="105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ot@dlp</a:t>
            </a: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~]# </a:t>
            </a:r>
            <a:r>
              <a:rPr kumimoji="0" lang="en-US" sz="105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dquota</a:t>
            </a: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–u cen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 set Soft Limit 4G, Hard Limit 5G (specify with kilo bytes)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k quotas for user cent (</a:t>
            </a:r>
            <a:r>
              <a:rPr kumimoji="0" lang="en-US" sz="105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id</a:t>
            </a: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500)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</a:t>
            </a:r>
            <a:r>
              <a:rPr kumimoji="0" lang="en-US" sz="105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lesystem</a:t>
            </a: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blocks   soft   hard    </a:t>
            </a:r>
            <a:r>
              <a:rPr kumimoji="0" lang="en-US" sz="105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odes</a:t>
            </a: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soft    hard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/dev/sdb1      16                4096000         5120000         7             0                0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 show  statu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[</a:t>
            </a:r>
            <a:r>
              <a:rPr kumimoji="0" lang="en-US" sz="105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ot@dlp</a:t>
            </a: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~]# </a:t>
            </a:r>
            <a:r>
              <a:rPr kumimoji="0" lang="en-US" sz="105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pquota</a:t>
            </a: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-au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**  Report for user quotas on device /dev/sdb1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ock grace time:  7days;  </a:t>
            </a:r>
            <a:r>
              <a:rPr kumimoji="0" lang="en-US" sz="105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ode</a:t>
            </a: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grace time:  7day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  Block limit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er              used             soft               hard     grace              used      soft     hard      grac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-------------------------------------------------------------------------------------------------------------------------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ot         --          20            0            0                                     2            0            0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ent         --          16     4096000       5120000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CBA74A32-5B63-4A9B-9F11-414943EC18E2}"/>
              </a:ext>
            </a:extLst>
          </p:cNvPr>
          <p:cNvSpPr txBox="1"/>
          <p:nvPr/>
        </p:nvSpPr>
        <p:spPr>
          <a:xfrm>
            <a:off x="446050" y="520304"/>
            <a:ext cx="305543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m-KH" dirty="0">
                <a:solidFill>
                  <a:srgbClr val="FFFFFF"/>
                </a:solidFill>
                <a:latin typeface="Khmer OS Battambang" panose="02000500000000020004" pitchFamily="2" charset="0"/>
                <a:cs typeface="Khmer OS Battambang" panose="02000500000000020004" pitchFamily="2" charset="0"/>
              </a:rPr>
              <a:t>៣. កំណត់ </a:t>
            </a:r>
            <a:r>
              <a:rPr lang="en-US" dirty="0">
                <a:solidFill>
                  <a:srgbClr val="FFFFFF"/>
                </a:solidFill>
                <a:latin typeface="Khmer OS Battambang" panose="02000500000000020004" pitchFamily="2" charset="0"/>
                <a:cs typeface="Khmer OS Battambang" panose="02000500000000020004" pitchFamily="2" charset="0"/>
              </a:rPr>
              <a:t>Quota </a:t>
            </a:r>
            <a:r>
              <a:rPr lang="km-KH" dirty="0">
                <a:solidFill>
                  <a:srgbClr val="FFFFFF"/>
                </a:solidFill>
                <a:latin typeface="Khmer OS Battambang" panose="02000500000000020004" pitchFamily="2" charset="0"/>
                <a:cs typeface="Khmer OS Battambang" panose="02000500000000020004" pitchFamily="2" charset="0"/>
              </a:rPr>
              <a:t>ឲ្យ </a:t>
            </a:r>
            <a:r>
              <a:rPr lang="en-US" dirty="0">
                <a:solidFill>
                  <a:srgbClr val="FFFFFF"/>
                </a:solidFill>
                <a:latin typeface="Khmer OS Battambang" panose="02000500000000020004" pitchFamily="2" charset="0"/>
                <a:cs typeface="Khmer OS Battambang" panose="02000500000000020004" pitchFamily="2" charset="0"/>
              </a:rPr>
              <a:t>user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072294783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1" end="2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3" end="2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4" end="2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8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0FC3722-8F96-43A5-A133-2ADF5CE88875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xmlns="" id="{475343A4-333F-4558-9B30-BC15AAB1A318}"/>
              </a:ext>
            </a:extLst>
          </p:cNvPr>
          <p:cNvSpPr/>
          <p:nvPr/>
        </p:nvSpPr>
        <p:spPr>
          <a:xfrm>
            <a:off x="-50782" y="1"/>
            <a:ext cx="11302409" cy="519489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xmlns="" id="{925C2EED-F692-4F64-B5C8-DBB35B8EAE13}"/>
              </a:ext>
            </a:extLst>
          </p:cNvPr>
          <p:cNvSpPr/>
          <p:nvPr/>
        </p:nvSpPr>
        <p:spPr>
          <a:xfrm>
            <a:off x="-55546" y="66454"/>
            <a:ext cx="11251630" cy="507704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xmlns="" id="{BE6E1CF5-59DA-43AB-9866-0328CF12083B}"/>
              </a:ext>
            </a:extLst>
          </p:cNvPr>
          <p:cNvSpPr/>
          <p:nvPr/>
        </p:nvSpPr>
        <p:spPr>
          <a:xfrm>
            <a:off x="-3" y="127067"/>
            <a:ext cx="11111023" cy="4949979"/>
          </a:xfrm>
          <a:prstGeom prst="homePlat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xmlns="" id="{5386A08B-7D7F-47E3-92B0-DE14688643F9}"/>
              </a:ext>
            </a:extLst>
          </p:cNvPr>
          <p:cNvSpPr/>
          <p:nvPr/>
        </p:nvSpPr>
        <p:spPr>
          <a:xfrm>
            <a:off x="-74428" y="152763"/>
            <a:ext cx="11129905" cy="4889366"/>
          </a:xfrm>
          <a:prstGeom prst="homePlat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	</a:t>
            </a:r>
          </a:p>
          <a:p>
            <a:r>
              <a:rPr lang="en-US" dirty="0">
                <a:solidFill>
                  <a:schemeClr val="tx1"/>
                </a:solidFill>
              </a:rPr>
              <a:t>	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1A6F54B5-0441-4560-B588-51F6748A10E7}"/>
              </a:ext>
            </a:extLst>
          </p:cNvPr>
          <p:cNvSpPr/>
          <p:nvPr/>
        </p:nvSpPr>
        <p:spPr>
          <a:xfrm>
            <a:off x="853933" y="303302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E76D8363-97F8-4D84-B055-4CAB5AF1B9B9}"/>
              </a:ext>
            </a:extLst>
          </p:cNvPr>
          <p:cNvSpPr/>
          <p:nvPr/>
        </p:nvSpPr>
        <p:spPr>
          <a:xfrm>
            <a:off x="1161896" y="303302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E1E5901C-75B9-4255-B79F-AFC39A71CB5A}"/>
              </a:ext>
            </a:extLst>
          </p:cNvPr>
          <p:cNvSpPr/>
          <p:nvPr/>
        </p:nvSpPr>
        <p:spPr>
          <a:xfrm>
            <a:off x="1777821" y="303302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5B68763A-C0FE-4288-99F2-5FD3D1D6259F}"/>
              </a:ext>
            </a:extLst>
          </p:cNvPr>
          <p:cNvSpPr/>
          <p:nvPr/>
        </p:nvSpPr>
        <p:spPr>
          <a:xfrm>
            <a:off x="2085784" y="303302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36678E34-C42F-4272-A80C-040E642AF4BE}"/>
              </a:ext>
            </a:extLst>
          </p:cNvPr>
          <p:cNvSpPr/>
          <p:nvPr/>
        </p:nvSpPr>
        <p:spPr>
          <a:xfrm>
            <a:off x="2393745" y="303302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12996ED4-A971-4578-B5CD-3D91B7A50B7D}"/>
              </a:ext>
            </a:extLst>
          </p:cNvPr>
          <p:cNvSpPr/>
          <p:nvPr/>
        </p:nvSpPr>
        <p:spPr>
          <a:xfrm>
            <a:off x="1469859" y="303302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xmlns="" id="{F4FC888B-7FCA-46F6-B3EA-F5E5A44DE1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03568" y="250851"/>
            <a:ext cx="1025765" cy="301519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xmlns="" id="{3AF8591F-F851-4C72-BCB4-63E779F403D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8170626" y="213443"/>
            <a:ext cx="387695" cy="395497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61561A28-5DC9-4400-AD65-EBA4CC050267}"/>
              </a:ext>
            </a:extLst>
          </p:cNvPr>
          <p:cNvSpPr txBox="1"/>
          <p:nvPr/>
        </p:nvSpPr>
        <p:spPr>
          <a:xfrm>
            <a:off x="579862" y="1589764"/>
            <a:ext cx="7857893" cy="2246769"/>
          </a:xfrm>
          <a:prstGeom prst="rect">
            <a:avLst/>
          </a:prstGeom>
          <a:solidFill>
            <a:srgbClr val="000000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 apply setting of “cent” to “ fedora”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[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ot@dlp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~]# 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dquota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–p 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et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edora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[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ot@dlp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~]# 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pquota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–au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** Repot for user quotas on device /dev/sdb1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ock grace time: 7days; 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ode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grace time: 7day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er                  used              soft         hard      grace    used       soft        hard        grac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----------------------------------------------------------------------------------------------------------------------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ot       --         20                  0              0                          2           0            0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ent       +-       5120000    4096000     5120000   6days    7           0            0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edora   --            4            4096000     5120000                 4           0            0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BCD4F2F0-E3AE-4F7A-8E67-52FFB173FD7B}"/>
              </a:ext>
            </a:extLst>
          </p:cNvPr>
          <p:cNvSpPr txBox="1"/>
          <p:nvPr/>
        </p:nvSpPr>
        <p:spPr>
          <a:xfrm>
            <a:off x="579862" y="944136"/>
            <a:ext cx="56425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m-KH" dirty="0">
                <a:solidFill>
                  <a:srgbClr val="FFFFFF"/>
                </a:solidFill>
                <a:latin typeface="Khmer OS Battambang" panose="02000500000000020004" pitchFamily="2" charset="0"/>
                <a:cs typeface="Khmer OS Battambang" panose="02000500000000020004" pitchFamily="2" charset="0"/>
              </a:rPr>
              <a:t>៤. យើងអាចកំណត់</a:t>
            </a:r>
            <a:r>
              <a:rPr lang="en-US" dirty="0">
                <a:solidFill>
                  <a:srgbClr val="FFFFFF"/>
                </a:solidFill>
                <a:latin typeface="Khmer OS Battambang" panose="02000500000000020004" pitchFamily="2" charset="0"/>
                <a:cs typeface="Khmer OS Battambang" panose="02000500000000020004" pitchFamily="2" charset="0"/>
              </a:rPr>
              <a:t> Quota user </a:t>
            </a:r>
            <a:r>
              <a:rPr lang="km-KH" dirty="0">
                <a:solidFill>
                  <a:srgbClr val="FFFFFF"/>
                </a:solidFill>
                <a:latin typeface="Khmer OS Battambang" panose="02000500000000020004" pitchFamily="2" charset="0"/>
                <a:cs typeface="Khmer OS Battambang" panose="02000500000000020004" pitchFamily="2" charset="0"/>
              </a:rPr>
              <a:t>នេះទៅឲ្យ </a:t>
            </a:r>
            <a:r>
              <a:rPr lang="en-US" dirty="0">
                <a:solidFill>
                  <a:srgbClr val="FFFFFF"/>
                </a:solidFill>
                <a:latin typeface="Khmer OS Battambang" panose="02000500000000020004" pitchFamily="2" charset="0"/>
                <a:cs typeface="Khmer OS Battambang" panose="02000500000000020004" pitchFamily="2" charset="0"/>
              </a:rPr>
              <a:t>user </a:t>
            </a:r>
            <a:r>
              <a:rPr lang="km-KH" dirty="0">
                <a:solidFill>
                  <a:srgbClr val="FFFFFF"/>
                </a:solidFill>
                <a:latin typeface="Khmer OS Battambang" panose="02000500000000020004" pitchFamily="2" charset="0"/>
                <a:cs typeface="Khmer OS Battambang" panose="02000500000000020004" pitchFamily="2" charset="0"/>
              </a:rPr>
              <a:t>មួយទៀត</a:t>
            </a:r>
            <a:endParaRPr lang="en-US" dirty="0">
              <a:solidFill>
                <a:srgbClr val="FFFFFF"/>
              </a:solidFill>
              <a:latin typeface="Khmer OS Battambang" panose="02000500000000020004" pitchFamily="2" charset="0"/>
              <a:cs typeface="Khmer OS Battambang" panose="02000500000000020004" pitchFamily="2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42830430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Arrow: Pentagon 74">
            <a:extLst>
              <a:ext uri="{FF2B5EF4-FFF2-40B4-BE49-F238E27FC236}">
                <a16:creationId xmlns:a16="http://schemas.microsoft.com/office/drawing/2014/main" xmlns="" id="{B215A999-3863-4EE2-A3CD-5D23493118D7}"/>
              </a:ext>
            </a:extLst>
          </p:cNvPr>
          <p:cNvSpPr/>
          <p:nvPr/>
        </p:nvSpPr>
        <p:spPr>
          <a:xfrm>
            <a:off x="0" y="0"/>
            <a:ext cx="11717079" cy="5143500"/>
          </a:xfrm>
          <a:prstGeom prst="homePlat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Arrow: Pentagon 72">
            <a:extLst>
              <a:ext uri="{FF2B5EF4-FFF2-40B4-BE49-F238E27FC236}">
                <a16:creationId xmlns:a16="http://schemas.microsoft.com/office/drawing/2014/main" xmlns="" id="{5831A934-010A-442C-AA50-73190CA5AD32}"/>
              </a:ext>
            </a:extLst>
          </p:cNvPr>
          <p:cNvSpPr/>
          <p:nvPr/>
        </p:nvSpPr>
        <p:spPr>
          <a:xfrm>
            <a:off x="35166" y="0"/>
            <a:ext cx="11717079" cy="5143500"/>
          </a:xfrm>
          <a:prstGeom prst="homePlat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Arrow: Pentagon 71">
            <a:extLst>
              <a:ext uri="{FF2B5EF4-FFF2-40B4-BE49-F238E27FC236}">
                <a16:creationId xmlns:a16="http://schemas.microsoft.com/office/drawing/2014/main" xmlns="" id="{30B5A298-54F1-4F28-AA0F-C8B9E0398388}"/>
              </a:ext>
            </a:extLst>
          </p:cNvPr>
          <p:cNvSpPr/>
          <p:nvPr/>
        </p:nvSpPr>
        <p:spPr>
          <a:xfrm>
            <a:off x="35165" y="0"/>
            <a:ext cx="11717079" cy="514350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Arrow: Pentagon 7">
            <a:extLst>
              <a:ext uri="{FF2B5EF4-FFF2-40B4-BE49-F238E27FC236}">
                <a16:creationId xmlns:a16="http://schemas.microsoft.com/office/drawing/2014/main" xmlns="" id="{158278D7-8103-456B-8665-255484F10FAD}"/>
              </a:ext>
            </a:extLst>
          </p:cNvPr>
          <p:cNvSpPr/>
          <p:nvPr/>
        </p:nvSpPr>
        <p:spPr>
          <a:xfrm>
            <a:off x="-49119" y="0"/>
            <a:ext cx="11883156" cy="5143500"/>
          </a:xfrm>
          <a:prstGeom prst="homePlat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22733E1C-109C-49C0-87D5-2F213696020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22733E1C-109C-49C0-87D5-2F213696020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ECA4ACE5-10D3-415B-9571-45426C854FAB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solidFill>
                <a:schemeClr val="tx1"/>
              </a:solidFill>
              <a:latin typeface="Segoe UI Black" panose="020B0A02040204020203" pitchFamily="34" charset="0"/>
              <a:ea typeface="+mj-ea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63A5D89F-7E4B-484F-80BF-9905E5C9AF78}"/>
              </a:ext>
            </a:extLst>
          </p:cNvPr>
          <p:cNvSpPr txBox="1"/>
          <p:nvPr/>
        </p:nvSpPr>
        <p:spPr>
          <a:xfrm>
            <a:off x="651509" y="1074889"/>
            <a:ext cx="2265829" cy="492443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>
              <a:defRPr sz="1000" kern="0">
                <a:solidFill>
                  <a:schemeClr val="accent1"/>
                </a:solidFill>
              </a:defRPr>
            </a:lvl1pPr>
          </a:lstStyle>
          <a:p>
            <a:pPr algn="ctr"/>
            <a:r>
              <a:rPr lang="km-KH" altLang="de-DE" sz="3200" dirty="0">
                <a:solidFill>
                  <a:schemeClr val="bg2"/>
                </a:solidFill>
                <a:latin typeface="Khmer Moul" panose="02060603050605020204" pitchFamily="18" charset="0"/>
                <a:cs typeface="+mj-cs"/>
              </a:rPr>
              <a:t>ជំពូកទី</a:t>
            </a:r>
            <a:r>
              <a:rPr lang="en-US" altLang="de-DE" sz="2000" dirty="0">
                <a:solidFill>
                  <a:schemeClr val="bg2"/>
                </a:solidFill>
                <a:latin typeface="Khmer Moul" panose="02060603050605020204" pitchFamily="18" charset="0"/>
                <a:cs typeface="+mj-cs"/>
              </a:rPr>
              <a:t>5</a:t>
            </a:r>
            <a:endParaRPr lang="de-DE" altLang="de-DE" sz="3200" dirty="0">
              <a:solidFill>
                <a:schemeClr val="bg2"/>
              </a:solidFill>
              <a:latin typeface="Khmer Moul" panose="02060603050605020204" pitchFamily="18" charset="0"/>
              <a:cs typeface="+mj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9C18946B-FF0F-4994-A1FF-72C2E4DE3FA3}"/>
              </a:ext>
            </a:extLst>
          </p:cNvPr>
          <p:cNvSpPr txBox="1"/>
          <p:nvPr/>
        </p:nvSpPr>
        <p:spPr>
          <a:xfrm>
            <a:off x="5838034" y="1072895"/>
            <a:ext cx="2285999" cy="492443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>
              <a:defRPr sz="1000" kern="0">
                <a:solidFill>
                  <a:schemeClr val="accent1"/>
                </a:solidFill>
              </a:defRPr>
            </a:lvl1pPr>
          </a:lstStyle>
          <a:p>
            <a:pPr algn="ctr"/>
            <a:r>
              <a:rPr lang="km-KH" altLang="de-DE" sz="3200" dirty="0">
                <a:solidFill>
                  <a:schemeClr val="bg2"/>
                </a:solidFill>
                <a:latin typeface="Khmer Moul" panose="02060603050605020204" pitchFamily="18" charset="0"/>
                <a:cs typeface="+mj-cs"/>
              </a:rPr>
              <a:t>ជំពូកទី</a:t>
            </a:r>
            <a:r>
              <a:rPr lang="en-US" altLang="de-DE" sz="2000" dirty="0">
                <a:solidFill>
                  <a:schemeClr val="bg2"/>
                </a:solidFill>
                <a:latin typeface="Khmer Moul" panose="02060603050605020204" pitchFamily="18" charset="0"/>
                <a:cs typeface="+mj-cs"/>
              </a:rPr>
              <a:t>7</a:t>
            </a:r>
            <a:endParaRPr lang="de-DE" altLang="de-DE" sz="3200" dirty="0">
              <a:solidFill>
                <a:schemeClr val="bg2"/>
              </a:solidFill>
              <a:latin typeface="Khmer Moul" panose="02060603050605020204" pitchFamily="18" charset="0"/>
              <a:cs typeface="+mj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1284A607-2DFE-40B6-B7B1-5AA4511386B1}"/>
              </a:ext>
            </a:extLst>
          </p:cNvPr>
          <p:cNvSpPr txBox="1"/>
          <p:nvPr/>
        </p:nvSpPr>
        <p:spPr>
          <a:xfrm>
            <a:off x="3234687" y="1076326"/>
            <a:ext cx="2285999" cy="492443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>
              <a:defRPr sz="1000" kern="0">
                <a:solidFill>
                  <a:schemeClr val="accent1"/>
                </a:solidFill>
              </a:defRPr>
            </a:lvl1pPr>
          </a:lstStyle>
          <a:p>
            <a:pPr algn="ctr"/>
            <a:r>
              <a:rPr lang="km-KH" altLang="de-DE" sz="3200" dirty="0">
                <a:solidFill>
                  <a:schemeClr val="bg2"/>
                </a:solidFill>
                <a:latin typeface="Khmer Moul" panose="02060603050605020204" pitchFamily="18" charset="0"/>
                <a:cs typeface="+mj-cs"/>
              </a:rPr>
              <a:t>ជំពូកទី</a:t>
            </a:r>
            <a:r>
              <a:rPr lang="en-US" altLang="de-DE" sz="2000" dirty="0">
                <a:solidFill>
                  <a:schemeClr val="bg2"/>
                </a:solidFill>
                <a:latin typeface="Khmer Moul" panose="02060603050605020204" pitchFamily="18" charset="0"/>
                <a:cs typeface="+mj-cs"/>
              </a:rPr>
              <a:t>6</a:t>
            </a:r>
            <a:endParaRPr lang="de-DE" altLang="de-DE" sz="3200" dirty="0">
              <a:solidFill>
                <a:schemeClr val="bg2"/>
              </a:solidFill>
              <a:latin typeface="Khmer Moul" panose="02060603050605020204" pitchFamily="18" charset="0"/>
              <a:cs typeface="+mj-cs"/>
            </a:endParaRPr>
          </a:p>
        </p:txBody>
      </p:sp>
      <p:sp>
        <p:nvSpPr>
          <p:cNvPr id="39" name="Google Shape;227;p30">
            <a:extLst>
              <a:ext uri="{FF2B5EF4-FFF2-40B4-BE49-F238E27FC236}">
                <a16:creationId xmlns:a16="http://schemas.microsoft.com/office/drawing/2014/main" xmlns="" id="{25A53E1C-0A0D-456D-ACDD-B8FC86F6FB98}"/>
              </a:ext>
            </a:extLst>
          </p:cNvPr>
          <p:cNvSpPr txBox="1">
            <a:spLocks/>
          </p:cNvSpPr>
          <p:nvPr/>
        </p:nvSpPr>
        <p:spPr>
          <a:xfrm>
            <a:off x="619866" y="3146538"/>
            <a:ext cx="501224" cy="44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9pPr>
          </a:lstStyle>
          <a:p>
            <a:r>
              <a:rPr lang="en" sz="1400" i="1" dirty="0">
                <a:solidFill>
                  <a:schemeClr val="dk2"/>
                </a:solidFill>
                <a:latin typeface="Be Vietnam Pro Light"/>
                <a:sym typeface="Be Vietnam Pro Light"/>
              </a:rPr>
              <a:t>5.4</a:t>
            </a:r>
          </a:p>
        </p:txBody>
      </p:sp>
      <p:sp>
        <p:nvSpPr>
          <p:cNvPr id="40" name="Google Shape;231;p30">
            <a:extLst>
              <a:ext uri="{FF2B5EF4-FFF2-40B4-BE49-F238E27FC236}">
                <a16:creationId xmlns:a16="http://schemas.microsoft.com/office/drawing/2014/main" xmlns="" id="{E9B8C727-C80C-42DD-B6F5-14686CB53BCD}"/>
              </a:ext>
            </a:extLst>
          </p:cNvPr>
          <p:cNvSpPr txBox="1">
            <a:spLocks/>
          </p:cNvSpPr>
          <p:nvPr/>
        </p:nvSpPr>
        <p:spPr>
          <a:xfrm>
            <a:off x="1121090" y="3139286"/>
            <a:ext cx="1798138" cy="44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50000"/>
              </a:lnSpc>
            </a:pPr>
            <a:r>
              <a:rPr lang="km-KH" sz="1200" u="sng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ការគ្រប់គ្រងលើ </a:t>
            </a:r>
            <a:r>
              <a:rPr lang="en-US" sz="1200" u="sng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Service</a:t>
            </a:r>
            <a:endParaRPr lang="en-US" sz="1200" u="sng" dirty="0">
              <a:solidFill>
                <a:schemeClr val="tx1"/>
              </a:solidFill>
            </a:endParaRPr>
          </a:p>
        </p:txBody>
      </p:sp>
      <p:sp>
        <p:nvSpPr>
          <p:cNvPr id="49" name="Google Shape;227;p30">
            <a:extLst>
              <a:ext uri="{FF2B5EF4-FFF2-40B4-BE49-F238E27FC236}">
                <a16:creationId xmlns:a16="http://schemas.microsoft.com/office/drawing/2014/main" xmlns="" id="{4499FEBB-157B-45DA-9315-2140F1D31B1E}"/>
              </a:ext>
            </a:extLst>
          </p:cNvPr>
          <p:cNvSpPr txBox="1">
            <a:spLocks/>
          </p:cNvSpPr>
          <p:nvPr/>
        </p:nvSpPr>
        <p:spPr>
          <a:xfrm>
            <a:off x="3245718" y="3124782"/>
            <a:ext cx="501224" cy="44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9pPr>
          </a:lstStyle>
          <a:p>
            <a:r>
              <a:rPr lang="en" sz="1400" i="1" dirty="0">
                <a:solidFill>
                  <a:schemeClr val="dk2"/>
                </a:solidFill>
                <a:latin typeface="Be Vietnam Pro Light"/>
                <a:sym typeface="Be Vietnam Pro Light"/>
              </a:rPr>
              <a:t>6.1</a:t>
            </a:r>
          </a:p>
        </p:txBody>
      </p:sp>
      <p:sp>
        <p:nvSpPr>
          <p:cNvPr id="50" name="Google Shape;231;p30">
            <a:extLst>
              <a:ext uri="{FF2B5EF4-FFF2-40B4-BE49-F238E27FC236}">
                <a16:creationId xmlns:a16="http://schemas.microsoft.com/office/drawing/2014/main" xmlns="" id="{D413DC88-3B7D-4F4C-88CF-9D5F3FBE6011}"/>
              </a:ext>
            </a:extLst>
          </p:cNvPr>
          <p:cNvSpPr txBox="1">
            <a:spLocks/>
          </p:cNvSpPr>
          <p:nvPr/>
        </p:nvSpPr>
        <p:spPr>
          <a:xfrm>
            <a:off x="3746942" y="3117530"/>
            <a:ext cx="1798138" cy="44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50000"/>
              </a:lnSpc>
            </a:pPr>
            <a:r>
              <a:rPr lang="km-KH" sz="1200" u="sng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ការកំណត់ទំហំ</a:t>
            </a:r>
            <a:r>
              <a:rPr lang="en-US" sz="1200" u="sng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Disk</a:t>
            </a:r>
            <a:endParaRPr lang="en-US" sz="1050" u="sng" dirty="0">
              <a:solidFill>
                <a:schemeClr val="tx1"/>
              </a:solidFill>
            </a:endParaRPr>
          </a:p>
        </p:txBody>
      </p:sp>
      <p:sp>
        <p:nvSpPr>
          <p:cNvPr id="51" name="Google Shape;227;p30">
            <a:extLst>
              <a:ext uri="{FF2B5EF4-FFF2-40B4-BE49-F238E27FC236}">
                <a16:creationId xmlns:a16="http://schemas.microsoft.com/office/drawing/2014/main" xmlns="" id="{6582BE62-8620-4112-A1DE-7297A9573FD0}"/>
              </a:ext>
            </a:extLst>
          </p:cNvPr>
          <p:cNvSpPr txBox="1">
            <a:spLocks/>
          </p:cNvSpPr>
          <p:nvPr/>
        </p:nvSpPr>
        <p:spPr>
          <a:xfrm>
            <a:off x="3245718" y="3494528"/>
            <a:ext cx="501224" cy="44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9pPr>
          </a:lstStyle>
          <a:p>
            <a:r>
              <a:rPr lang="en" sz="1400" i="1" dirty="0">
                <a:solidFill>
                  <a:schemeClr val="dk2"/>
                </a:solidFill>
                <a:latin typeface="Be Vietnam Pro Light"/>
                <a:sym typeface="Be Vietnam Pro Light"/>
              </a:rPr>
              <a:t>6.</a:t>
            </a:r>
            <a:r>
              <a:rPr lang="en-US" sz="1400" i="1" dirty="0">
                <a:solidFill>
                  <a:schemeClr val="dk2"/>
                </a:solidFill>
                <a:latin typeface="Be Vietnam Pro Light"/>
                <a:sym typeface="Be Vietnam Pro Light"/>
              </a:rPr>
              <a:t>2</a:t>
            </a:r>
            <a:endParaRPr lang="en" sz="1400" i="1" dirty="0">
              <a:solidFill>
                <a:schemeClr val="dk2"/>
              </a:solidFill>
              <a:latin typeface="Be Vietnam Pro Light"/>
              <a:sym typeface="Be Vietnam Pro Light"/>
            </a:endParaRPr>
          </a:p>
        </p:txBody>
      </p:sp>
      <p:sp>
        <p:nvSpPr>
          <p:cNvPr id="52" name="Google Shape;231;p30">
            <a:extLst>
              <a:ext uri="{FF2B5EF4-FFF2-40B4-BE49-F238E27FC236}">
                <a16:creationId xmlns:a16="http://schemas.microsoft.com/office/drawing/2014/main" xmlns="" id="{026147E3-4BDB-409C-A4FA-6C77AAC5190A}"/>
              </a:ext>
            </a:extLst>
          </p:cNvPr>
          <p:cNvSpPr txBox="1">
            <a:spLocks/>
          </p:cNvSpPr>
          <p:nvPr/>
        </p:nvSpPr>
        <p:spPr>
          <a:xfrm>
            <a:off x="3746942" y="3487276"/>
            <a:ext cx="1798138" cy="44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km-KH" sz="1200" u="sng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ការអនុវត្ត</a:t>
            </a:r>
            <a:r>
              <a:rPr lang="en-US" sz="1200" u="sng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Quota</a:t>
            </a:r>
          </a:p>
        </p:txBody>
      </p:sp>
      <p:sp>
        <p:nvSpPr>
          <p:cNvPr id="53" name="Google Shape;227;p30">
            <a:extLst>
              <a:ext uri="{FF2B5EF4-FFF2-40B4-BE49-F238E27FC236}">
                <a16:creationId xmlns:a16="http://schemas.microsoft.com/office/drawing/2014/main" xmlns="" id="{5EB5734E-DC6A-4C89-9CA9-576F30EEC04F}"/>
              </a:ext>
            </a:extLst>
          </p:cNvPr>
          <p:cNvSpPr txBox="1">
            <a:spLocks/>
          </p:cNvSpPr>
          <p:nvPr/>
        </p:nvSpPr>
        <p:spPr>
          <a:xfrm>
            <a:off x="3245718" y="3833017"/>
            <a:ext cx="501224" cy="44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9pPr>
          </a:lstStyle>
          <a:p>
            <a:r>
              <a:rPr lang="en" sz="1400" i="1" dirty="0">
                <a:solidFill>
                  <a:schemeClr val="dk2"/>
                </a:solidFill>
                <a:latin typeface="Be Vietnam Pro Light"/>
                <a:sym typeface="Be Vietnam Pro Light"/>
              </a:rPr>
              <a:t>6.3</a:t>
            </a:r>
          </a:p>
        </p:txBody>
      </p:sp>
      <p:sp>
        <p:nvSpPr>
          <p:cNvPr id="54" name="Google Shape;231;p30">
            <a:extLst>
              <a:ext uri="{FF2B5EF4-FFF2-40B4-BE49-F238E27FC236}">
                <a16:creationId xmlns:a16="http://schemas.microsoft.com/office/drawing/2014/main" xmlns="" id="{5AF6C8BC-63F0-402D-BBFD-DB2837BB4197}"/>
              </a:ext>
            </a:extLst>
          </p:cNvPr>
          <p:cNvSpPr txBox="1">
            <a:spLocks/>
          </p:cNvSpPr>
          <p:nvPr/>
        </p:nvSpPr>
        <p:spPr>
          <a:xfrm>
            <a:off x="3746942" y="3825765"/>
            <a:ext cx="1798138" cy="44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50000"/>
              </a:lnSpc>
            </a:pPr>
            <a:r>
              <a:rPr lang="en-US" sz="1200" u="sng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Configuring Disk Quota</a:t>
            </a:r>
            <a:endParaRPr lang="en-US" sz="1050" u="sng" dirty="0">
              <a:solidFill>
                <a:schemeClr val="tx1"/>
              </a:solidFill>
            </a:endParaRPr>
          </a:p>
        </p:txBody>
      </p:sp>
      <p:sp>
        <p:nvSpPr>
          <p:cNvPr id="55" name="Google Shape;227;p30">
            <a:extLst>
              <a:ext uri="{FF2B5EF4-FFF2-40B4-BE49-F238E27FC236}">
                <a16:creationId xmlns:a16="http://schemas.microsoft.com/office/drawing/2014/main" xmlns="" id="{F580F5F4-66E2-4486-8171-AEA5401C15D5}"/>
              </a:ext>
            </a:extLst>
          </p:cNvPr>
          <p:cNvSpPr txBox="1">
            <a:spLocks/>
          </p:cNvSpPr>
          <p:nvPr/>
        </p:nvSpPr>
        <p:spPr>
          <a:xfrm>
            <a:off x="3225545" y="4210015"/>
            <a:ext cx="649769" cy="44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9pPr>
          </a:lstStyle>
          <a:p>
            <a:r>
              <a:rPr lang="en" sz="1400" i="1" dirty="0">
                <a:solidFill>
                  <a:schemeClr val="dk2"/>
                </a:solidFill>
                <a:latin typeface="Be Vietnam Pro Light"/>
                <a:sym typeface="Be Vietnam Pro Light"/>
              </a:rPr>
              <a:t>6.3.1</a:t>
            </a:r>
          </a:p>
        </p:txBody>
      </p:sp>
      <p:sp>
        <p:nvSpPr>
          <p:cNvPr id="56" name="Google Shape;231;p30">
            <a:extLst>
              <a:ext uri="{FF2B5EF4-FFF2-40B4-BE49-F238E27FC236}">
                <a16:creationId xmlns:a16="http://schemas.microsoft.com/office/drawing/2014/main" xmlns="" id="{46B6119C-2560-4B59-94CA-2CEAE665B4DD}"/>
              </a:ext>
            </a:extLst>
          </p:cNvPr>
          <p:cNvSpPr txBox="1">
            <a:spLocks/>
          </p:cNvSpPr>
          <p:nvPr/>
        </p:nvSpPr>
        <p:spPr>
          <a:xfrm>
            <a:off x="3726770" y="4202763"/>
            <a:ext cx="2124628" cy="447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 defTabSz="685800">
              <a:buClrTx/>
            </a:pPr>
            <a:r>
              <a:rPr lang="km-KH" altLang="de-DE" sz="1100" u="sng" kern="1200" dirty="0">
                <a:solidFill>
                  <a:schemeClr val="tx1"/>
                </a:solidFill>
                <a:latin typeface="Ang DaunKeo" panose="020B0503020102020204" pitchFamily="34" charset="0"/>
                <a:ea typeface="+mn-ea"/>
                <a:cs typeface="Ang DaunKeo" panose="020B0503020102020204" pitchFamily="34" charset="0"/>
              </a:rPr>
              <a:t>ការកំណត់ </a:t>
            </a:r>
            <a:r>
              <a:rPr lang="en-US" altLang="de-DE" sz="1100" u="sng" kern="1200" dirty="0">
                <a:solidFill>
                  <a:schemeClr val="tx1"/>
                </a:solidFill>
                <a:latin typeface="Ang DaunKeo" panose="020B0503020102020204" pitchFamily="34" charset="0"/>
                <a:ea typeface="+mn-ea"/>
                <a:cs typeface="Ang DaunKeo" panose="020B0503020102020204" pitchFamily="34" charset="0"/>
              </a:rPr>
              <a:t>Quota </a:t>
            </a:r>
            <a:r>
              <a:rPr lang="km-KH" altLang="de-DE" sz="1100" u="sng" kern="1200" dirty="0">
                <a:solidFill>
                  <a:schemeClr val="tx1"/>
                </a:solidFill>
                <a:latin typeface="Ang DaunKeo" panose="020B0503020102020204" pitchFamily="34" charset="0"/>
                <a:ea typeface="+mn-ea"/>
                <a:cs typeface="Ang DaunKeo" panose="020B0503020102020204" pitchFamily="34" charset="0"/>
              </a:rPr>
              <a:t>ដោយប្រើ </a:t>
            </a:r>
            <a:r>
              <a:rPr lang="en-US" altLang="de-DE" sz="1100" u="sng" kern="1200" dirty="0">
                <a:solidFill>
                  <a:schemeClr val="tx1"/>
                </a:solidFill>
                <a:latin typeface="Ang DaunKeo" panose="020B0503020102020204" pitchFamily="34" charset="0"/>
                <a:ea typeface="+mn-ea"/>
                <a:cs typeface="Ang DaunKeo" panose="020B0503020102020204" pitchFamily="34" charset="0"/>
              </a:rPr>
              <a:t>XFS filesystem</a:t>
            </a:r>
          </a:p>
        </p:txBody>
      </p:sp>
      <p:sp>
        <p:nvSpPr>
          <p:cNvPr id="57" name="Google Shape;227;p30">
            <a:extLst>
              <a:ext uri="{FF2B5EF4-FFF2-40B4-BE49-F238E27FC236}">
                <a16:creationId xmlns:a16="http://schemas.microsoft.com/office/drawing/2014/main" xmlns="" id="{A9BBBB61-455E-454A-A233-713E65D698FC}"/>
              </a:ext>
            </a:extLst>
          </p:cNvPr>
          <p:cNvSpPr txBox="1">
            <a:spLocks/>
          </p:cNvSpPr>
          <p:nvPr/>
        </p:nvSpPr>
        <p:spPr>
          <a:xfrm>
            <a:off x="5851398" y="3139286"/>
            <a:ext cx="501224" cy="44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9pPr>
          </a:lstStyle>
          <a:p>
            <a:r>
              <a:rPr lang="en" sz="1400" i="1" dirty="0">
                <a:solidFill>
                  <a:schemeClr val="dk2"/>
                </a:solidFill>
                <a:latin typeface="Be Vietnam Pro Light"/>
                <a:sym typeface="Be Vietnam Pro Light"/>
              </a:rPr>
              <a:t>7.1</a:t>
            </a:r>
          </a:p>
        </p:txBody>
      </p:sp>
      <p:sp>
        <p:nvSpPr>
          <p:cNvPr id="58" name="Google Shape;231;p30">
            <a:extLst>
              <a:ext uri="{FF2B5EF4-FFF2-40B4-BE49-F238E27FC236}">
                <a16:creationId xmlns:a16="http://schemas.microsoft.com/office/drawing/2014/main" xmlns="" id="{7EE024DE-A4EB-4D6F-81BE-A9922D11ED5B}"/>
              </a:ext>
            </a:extLst>
          </p:cNvPr>
          <p:cNvSpPr txBox="1">
            <a:spLocks/>
          </p:cNvSpPr>
          <p:nvPr/>
        </p:nvSpPr>
        <p:spPr>
          <a:xfrm>
            <a:off x="6352621" y="3132034"/>
            <a:ext cx="2231175" cy="447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u="sng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NETWORKING CONFIGURATION</a:t>
            </a:r>
          </a:p>
        </p:txBody>
      </p:sp>
      <p:sp>
        <p:nvSpPr>
          <p:cNvPr id="59" name="Google Shape;227;p30">
            <a:extLst>
              <a:ext uri="{FF2B5EF4-FFF2-40B4-BE49-F238E27FC236}">
                <a16:creationId xmlns:a16="http://schemas.microsoft.com/office/drawing/2014/main" xmlns="" id="{883B05E6-6B4D-4F33-8AC2-0C396345F2B5}"/>
              </a:ext>
            </a:extLst>
          </p:cNvPr>
          <p:cNvSpPr txBox="1">
            <a:spLocks/>
          </p:cNvSpPr>
          <p:nvPr/>
        </p:nvSpPr>
        <p:spPr>
          <a:xfrm>
            <a:off x="5851398" y="3509032"/>
            <a:ext cx="501224" cy="44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9pPr>
          </a:lstStyle>
          <a:p>
            <a:r>
              <a:rPr lang="en" sz="1400" i="1" dirty="0">
                <a:solidFill>
                  <a:schemeClr val="dk2"/>
                </a:solidFill>
                <a:latin typeface="Be Vietnam Pro Light"/>
                <a:sym typeface="Be Vietnam Pro Light"/>
              </a:rPr>
              <a:t>7.1.1</a:t>
            </a:r>
          </a:p>
        </p:txBody>
      </p:sp>
      <p:sp>
        <p:nvSpPr>
          <p:cNvPr id="60" name="Google Shape;231;p30">
            <a:extLst>
              <a:ext uri="{FF2B5EF4-FFF2-40B4-BE49-F238E27FC236}">
                <a16:creationId xmlns:a16="http://schemas.microsoft.com/office/drawing/2014/main" xmlns="" id="{BC921B65-EE86-4514-81F8-CB9F40551BA2}"/>
              </a:ext>
            </a:extLst>
          </p:cNvPr>
          <p:cNvSpPr txBox="1">
            <a:spLocks/>
          </p:cNvSpPr>
          <p:nvPr/>
        </p:nvSpPr>
        <p:spPr>
          <a:xfrm>
            <a:off x="6352622" y="3501780"/>
            <a:ext cx="2791378" cy="447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/>
            <a:r>
              <a:rPr lang="km-KH" sz="1100" u="sng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ចំពោះ </a:t>
            </a:r>
            <a:r>
              <a:rPr lang="en-US" sz="1100" u="sng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network </a:t>
            </a:r>
            <a:r>
              <a:rPr lang="km-KH" sz="1100" u="sng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ដែលតភ្ជា ប់ដោយប្រើខ្សែ (</a:t>
            </a:r>
            <a:r>
              <a:rPr lang="en-US" sz="1100" u="sng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Wired Networking)</a:t>
            </a:r>
          </a:p>
        </p:txBody>
      </p:sp>
      <p:sp>
        <p:nvSpPr>
          <p:cNvPr id="61" name="Google Shape;227;p30">
            <a:extLst>
              <a:ext uri="{FF2B5EF4-FFF2-40B4-BE49-F238E27FC236}">
                <a16:creationId xmlns:a16="http://schemas.microsoft.com/office/drawing/2014/main" xmlns="" id="{33DEB406-B065-49A2-B9A7-1C7636B02637}"/>
              </a:ext>
            </a:extLst>
          </p:cNvPr>
          <p:cNvSpPr txBox="1">
            <a:spLocks/>
          </p:cNvSpPr>
          <p:nvPr/>
        </p:nvSpPr>
        <p:spPr>
          <a:xfrm>
            <a:off x="5851398" y="3847521"/>
            <a:ext cx="585688" cy="44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9pPr>
          </a:lstStyle>
          <a:p>
            <a:r>
              <a:rPr lang="en" sz="1400" i="1" dirty="0">
                <a:solidFill>
                  <a:schemeClr val="dk2"/>
                </a:solidFill>
                <a:latin typeface="Be Vietnam Pro Light"/>
                <a:sym typeface="Be Vietnam Pro Light"/>
              </a:rPr>
              <a:t>7.1.2</a:t>
            </a:r>
          </a:p>
        </p:txBody>
      </p:sp>
      <p:sp>
        <p:nvSpPr>
          <p:cNvPr id="62" name="Google Shape;231;p30">
            <a:extLst>
              <a:ext uri="{FF2B5EF4-FFF2-40B4-BE49-F238E27FC236}">
                <a16:creationId xmlns:a16="http://schemas.microsoft.com/office/drawing/2014/main" xmlns="" id="{555FADE1-7DE2-416B-8B47-3657B13DB318}"/>
              </a:ext>
            </a:extLst>
          </p:cNvPr>
          <p:cNvSpPr txBox="1">
            <a:spLocks/>
          </p:cNvSpPr>
          <p:nvPr/>
        </p:nvSpPr>
        <p:spPr>
          <a:xfrm>
            <a:off x="6352621" y="3840269"/>
            <a:ext cx="2660749" cy="447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km-KH" sz="1100" u="sng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កំណត់ </a:t>
            </a:r>
            <a:r>
              <a:rPr lang="en-US" sz="1100" u="sng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Static IP address </a:t>
            </a:r>
            <a:r>
              <a:rPr lang="km-KH" sz="1100" u="sng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ឲ្យ​ </a:t>
            </a:r>
            <a:r>
              <a:rPr lang="en-US" sz="1100" u="sng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Server </a:t>
            </a:r>
            <a:r>
              <a:rPr lang="km-KH" sz="1100" u="sng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ដោយប្រើ </a:t>
            </a:r>
            <a:r>
              <a:rPr lang="en-US" sz="1100" u="sng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text file</a:t>
            </a:r>
          </a:p>
        </p:txBody>
      </p:sp>
      <p:sp>
        <p:nvSpPr>
          <p:cNvPr id="63" name="Google Shape;227;p30">
            <a:extLst>
              <a:ext uri="{FF2B5EF4-FFF2-40B4-BE49-F238E27FC236}">
                <a16:creationId xmlns:a16="http://schemas.microsoft.com/office/drawing/2014/main" xmlns="" id="{7D8D9EC5-A80C-47B9-8AA6-3725BCABBBFD}"/>
              </a:ext>
            </a:extLst>
          </p:cNvPr>
          <p:cNvSpPr txBox="1">
            <a:spLocks/>
          </p:cNvSpPr>
          <p:nvPr/>
        </p:nvSpPr>
        <p:spPr>
          <a:xfrm>
            <a:off x="5831226" y="4224519"/>
            <a:ext cx="649768" cy="44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9pPr>
          </a:lstStyle>
          <a:p>
            <a:r>
              <a:rPr lang="en" sz="1400" i="1" dirty="0">
                <a:solidFill>
                  <a:schemeClr val="dk2"/>
                </a:solidFill>
                <a:latin typeface="Be Vietnam Pro Light"/>
                <a:sym typeface="Be Vietnam Pro Light"/>
              </a:rPr>
              <a:t>7.1.3</a:t>
            </a:r>
          </a:p>
        </p:txBody>
      </p:sp>
      <p:sp>
        <p:nvSpPr>
          <p:cNvPr id="64" name="Google Shape;231;p30">
            <a:extLst>
              <a:ext uri="{FF2B5EF4-FFF2-40B4-BE49-F238E27FC236}">
                <a16:creationId xmlns:a16="http://schemas.microsoft.com/office/drawing/2014/main" xmlns="" id="{17342FAA-0727-4E2E-BB4B-00E89BEB33E3}"/>
              </a:ext>
            </a:extLst>
          </p:cNvPr>
          <p:cNvSpPr txBox="1">
            <a:spLocks/>
          </p:cNvSpPr>
          <p:nvPr/>
        </p:nvSpPr>
        <p:spPr>
          <a:xfrm>
            <a:off x="6332450" y="4217267"/>
            <a:ext cx="2680920" cy="447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km-KH" sz="1200" u="sng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ការតេស្តនៅលើ </a:t>
            </a:r>
            <a:r>
              <a:rPr lang="en-US" sz="1200" u="sng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Network </a:t>
            </a:r>
            <a:r>
              <a:rPr lang="km-KH" sz="1200" u="sng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ដោយប្រើ </a:t>
            </a:r>
            <a:r>
              <a:rPr lang="en-US" sz="1200" u="sng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Tool</a:t>
            </a:r>
          </a:p>
        </p:txBody>
      </p:sp>
      <p:sp>
        <p:nvSpPr>
          <p:cNvPr id="65" name="Google Shape;227;p30">
            <a:extLst>
              <a:ext uri="{FF2B5EF4-FFF2-40B4-BE49-F238E27FC236}">
                <a16:creationId xmlns:a16="http://schemas.microsoft.com/office/drawing/2014/main" xmlns="" id="{FF7A2429-1ED2-4FCE-8732-25D4A5DB0D60}"/>
              </a:ext>
            </a:extLst>
          </p:cNvPr>
          <p:cNvSpPr txBox="1">
            <a:spLocks/>
          </p:cNvSpPr>
          <p:nvPr/>
        </p:nvSpPr>
        <p:spPr>
          <a:xfrm>
            <a:off x="5831226" y="4555756"/>
            <a:ext cx="605860" cy="44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9pPr>
          </a:lstStyle>
          <a:p>
            <a:r>
              <a:rPr lang="en" sz="1400" i="1" dirty="0">
                <a:solidFill>
                  <a:schemeClr val="dk2"/>
                </a:solidFill>
                <a:latin typeface="Be Vietnam Pro Light"/>
                <a:sym typeface="Be Vietnam Pro Light"/>
              </a:rPr>
              <a:t>7.1.4</a:t>
            </a:r>
          </a:p>
        </p:txBody>
      </p:sp>
      <p:sp>
        <p:nvSpPr>
          <p:cNvPr id="66" name="Google Shape;231;p30">
            <a:extLst>
              <a:ext uri="{FF2B5EF4-FFF2-40B4-BE49-F238E27FC236}">
                <a16:creationId xmlns:a16="http://schemas.microsoft.com/office/drawing/2014/main" xmlns="" id="{0675BBBA-919A-45F4-97C9-FF0FD0D53231}"/>
              </a:ext>
            </a:extLst>
          </p:cNvPr>
          <p:cNvSpPr txBox="1">
            <a:spLocks/>
          </p:cNvSpPr>
          <p:nvPr/>
        </p:nvSpPr>
        <p:spPr>
          <a:xfrm>
            <a:off x="6332450" y="4548504"/>
            <a:ext cx="2680920" cy="447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 defTabSz="685800">
              <a:buClrTx/>
            </a:pPr>
            <a:r>
              <a:rPr lang="km-KH" altLang="de-DE" sz="1100" u="sng" kern="1200" dirty="0">
                <a:solidFill>
                  <a:schemeClr val="tx1"/>
                </a:solidFill>
                <a:latin typeface="Ang DaunKeo" panose="020B0503020102020204" pitchFamily="34" charset="0"/>
                <a:ea typeface="+mn-ea"/>
                <a:cs typeface="Ang DaunKeo" panose="020B0503020102020204" pitchFamily="34" charset="0"/>
              </a:rPr>
              <a:t>ការគ្រប់គ្រងទៅលើឧបករណ៍​ដោយប្រើឃ្លាបញ្ជា</a:t>
            </a:r>
            <a:endParaRPr kumimoji="0" lang="de-DE" altLang="de-DE" sz="1100" i="0" u="sng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Semibold"/>
              <a:ea typeface="+mn-ea"/>
              <a:cs typeface="Arial"/>
              <a:sym typeface="Arial"/>
            </a:endParaRPr>
          </a:p>
        </p:txBody>
      </p:sp>
      <mc:AlternateContent xmlns:mc="http://schemas.openxmlformats.org/markup-compatibility/2006">
        <mc:Choice xmlns:psez="http://schemas.microsoft.com/office/powerpoint/2016/sectionzoom" xmlns="" Requires="psez">
          <p:graphicFrame>
            <p:nvGraphicFramePr>
              <p:cNvPr id="7" name="Section Zoom 6">
                <a:extLst>
                  <a:ext uri="{FF2B5EF4-FFF2-40B4-BE49-F238E27FC236}">
                    <a16:creationId xmlns:a16="http://schemas.microsoft.com/office/drawing/2014/main" id="{3B5956BF-F7E2-4F30-8280-01B172C51A8C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825987281"/>
                  </p:ext>
                </p:extLst>
              </p:nvPr>
            </p:nvGraphicFramePr>
            <p:xfrm>
              <a:off x="726337" y="1711058"/>
              <a:ext cx="2286000" cy="1285875"/>
            </p:xfrm>
            <a:graphic>
              <a:graphicData uri="http://schemas.microsoft.com/office/powerpoint/2016/sectionzoom">
                <psez:sectionZm>
                  <psez:sectionZmObj sectionId="{0EB4FA21-F44F-465C-8B7D-BAF03D729DF0}">
                    <psez:zmPr id="{26A64CD7-264D-4A9C-A423-5752B5374452}" transitionDur="1000">
                      <p166:blipFill xmlns:p166="http://schemas.microsoft.com/office/powerpoint/2016/6/main">
                        <a:blip r:embed="rId9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286000" cy="1285875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>
          <p:pic>
            <p:nvPicPr>
              <p:cNvPr id="7" name="Section Zoom 6">
                <a:hlinkClick r:id="rId10" action="ppaction://hlinksldjump"/>
                <a:extLst>
                  <a:ext uri="{FF2B5EF4-FFF2-40B4-BE49-F238E27FC236}">
                    <a16:creationId xmlns:a16="http://schemas.microsoft.com/office/drawing/2014/main" xmlns="" xmlns:psez="http://schemas.microsoft.com/office/powerpoint/2016/sectionzoom" id="{3B5956BF-F7E2-4F30-8280-01B172C51A8C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726337" y="1711058"/>
                <a:ext cx="2286000" cy="1285875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>
        <mc:Choice xmlns:psez="http://schemas.microsoft.com/office/powerpoint/2016/sectionzoom" xmlns="" Requires="psez">
          <p:graphicFrame>
            <p:nvGraphicFramePr>
              <p:cNvPr id="11" name="Section Zoom 10">
                <a:extLst>
                  <a:ext uri="{FF2B5EF4-FFF2-40B4-BE49-F238E27FC236}">
                    <a16:creationId xmlns:a16="http://schemas.microsoft.com/office/drawing/2014/main" id="{7D0A7B72-D53E-498B-880E-D97A70D494B4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673387146"/>
                  </p:ext>
                </p:extLst>
              </p:nvPr>
            </p:nvGraphicFramePr>
            <p:xfrm>
              <a:off x="3404087" y="1703838"/>
              <a:ext cx="2286000" cy="1285875"/>
            </p:xfrm>
            <a:graphic>
              <a:graphicData uri="http://schemas.microsoft.com/office/powerpoint/2016/sectionzoom">
                <psez:sectionZm>
                  <psez:sectionZmObj sectionId="{45F1C43F-650F-43E0-8918-713D1181DB0F}">
                    <psez:zmPr id="{CE561869-A8CF-46F1-93FE-24CB32F654EF}" transitionDur="1000">
                      <p166:blipFill xmlns:p166="http://schemas.microsoft.com/office/powerpoint/2016/6/main">
                        <a:blip r:embed="rId16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286000" cy="1285875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>
          <p:pic>
            <p:nvPicPr>
              <p:cNvPr id="11" name="Section Zoom 10">
                <a:hlinkClick r:id="rId17" action="ppaction://hlinksldjump"/>
                <a:extLst>
                  <a:ext uri="{FF2B5EF4-FFF2-40B4-BE49-F238E27FC236}">
                    <a16:creationId xmlns:a16="http://schemas.microsoft.com/office/drawing/2014/main" xmlns="" xmlns:psez="http://schemas.microsoft.com/office/powerpoint/2016/sectionzoom" id="{7D0A7B72-D53E-498B-880E-D97A70D494B4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8"/>
              <a:stretch>
                <a:fillRect/>
              </a:stretch>
            </p:blipFill>
            <p:spPr>
              <a:xfrm>
                <a:off x="3404087" y="1703838"/>
                <a:ext cx="2286000" cy="1285875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>
        <mc:Choice xmlns:psez="http://schemas.microsoft.com/office/powerpoint/2016/sectionzoom" xmlns="" Requires="psez">
          <p:graphicFrame>
            <p:nvGraphicFramePr>
              <p:cNvPr id="15" name="Section Zoom 14">
                <a:extLst>
                  <a:ext uri="{FF2B5EF4-FFF2-40B4-BE49-F238E27FC236}">
                    <a16:creationId xmlns:a16="http://schemas.microsoft.com/office/drawing/2014/main" id="{61AE4C55-C080-4EB6-A2B8-3424A3EC195B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103546503"/>
                  </p:ext>
                </p:extLst>
              </p:nvPr>
            </p:nvGraphicFramePr>
            <p:xfrm>
              <a:off x="6081838" y="1719467"/>
              <a:ext cx="2286000" cy="1285875"/>
            </p:xfrm>
            <a:graphic>
              <a:graphicData uri="http://schemas.microsoft.com/office/powerpoint/2016/sectionzoom">
                <psez:sectionZm>
                  <psez:sectionZmObj sectionId="{A32673E2-21EB-45D1-91A7-A0D38F78045C}">
                    <psez:zmPr id="{63923356-EB82-4945-BC06-FEFCC986E30E}" transitionDur="1000">
                      <p166:blipFill xmlns:p166="http://schemas.microsoft.com/office/powerpoint/2016/6/main">
                        <a:blip r:embed="rId19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286000" cy="1285875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>
          <p:pic>
            <p:nvPicPr>
              <p:cNvPr id="15" name="Section Zoom 14">
                <a:hlinkClick r:id="rId20" action="ppaction://hlinksldjump"/>
                <a:extLst>
                  <a:ext uri="{FF2B5EF4-FFF2-40B4-BE49-F238E27FC236}">
                    <a16:creationId xmlns:a16="http://schemas.microsoft.com/office/drawing/2014/main" xmlns="" xmlns:psez="http://schemas.microsoft.com/office/powerpoint/2016/sectionzoom" id="{61AE4C55-C080-4EB6-A2B8-3424A3EC195B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21"/>
              <a:stretch>
                <a:fillRect/>
              </a:stretch>
            </p:blipFill>
            <p:spPr>
              <a:xfrm>
                <a:off x="6081838" y="1719467"/>
                <a:ext cx="2286000" cy="1285875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p:sp>
        <p:nvSpPr>
          <p:cNvPr id="38" name="Google Shape;227;p30">
            <a:extLst>
              <a:ext uri="{FF2B5EF4-FFF2-40B4-BE49-F238E27FC236}">
                <a16:creationId xmlns:a16="http://schemas.microsoft.com/office/drawing/2014/main" xmlns="" id="{0995177C-055F-4248-BB83-11F3808D8443}"/>
              </a:ext>
            </a:extLst>
          </p:cNvPr>
          <p:cNvSpPr txBox="1">
            <a:spLocks/>
          </p:cNvSpPr>
          <p:nvPr/>
        </p:nvSpPr>
        <p:spPr>
          <a:xfrm>
            <a:off x="3225545" y="4537344"/>
            <a:ext cx="649769" cy="44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Be Vietnam Pro"/>
              <a:buNone/>
              <a:defRPr sz="3000" b="0" i="0" u="none" strike="noStrike" cap="none">
                <a:solidFill>
                  <a:schemeClr val="dk1"/>
                </a:solidFill>
                <a:latin typeface="Be Vietnam Pro"/>
                <a:ea typeface="Be Vietnam Pro"/>
                <a:cs typeface="Be Vietnam Pro"/>
                <a:sym typeface="Be Vietnam Pro"/>
              </a:defRPr>
            </a:lvl9pPr>
          </a:lstStyle>
          <a:p>
            <a:r>
              <a:rPr lang="en" sz="1400" i="1" dirty="0">
                <a:solidFill>
                  <a:schemeClr val="dk2"/>
                </a:solidFill>
                <a:latin typeface="Be Vietnam Pro Light"/>
                <a:sym typeface="Be Vietnam Pro Light"/>
              </a:rPr>
              <a:t>6.3.2</a:t>
            </a:r>
          </a:p>
        </p:txBody>
      </p:sp>
      <p:sp>
        <p:nvSpPr>
          <p:cNvPr id="41" name="Google Shape;231;p30">
            <a:extLst>
              <a:ext uri="{FF2B5EF4-FFF2-40B4-BE49-F238E27FC236}">
                <a16:creationId xmlns:a16="http://schemas.microsoft.com/office/drawing/2014/main" xmlns="" id="{BFA9553B-1941-4650-B37A-AADE37B17D73}"/>
              </a:ext>
            </a:extLst>
          </p:cNvPr>
          <p:cNvSpPr txBox="1">
            <a:spLocks/>
          </p:cNvSpPr>
          <p:nvPr/>
        </p:nvSpPr>
        <p:spPr>
          <a:xfrm>
            <a:off x="3741172" y="4534000"/>
            <a:ext cx="2069882" cy="447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 defTabSz="685800">
              <a:buClrTx/>
            </a:pPr>
            <a:r>
              <a:rPr lang="km-KH" altLang="de-DE" sz="1100" u="sng" kern="1200" dirty="0">
                <a:solidFill>
                  <a:schemeClr val="tx1"/>
                </a:solidFill>
                <a:latin typeface="Ang DaunKeo" panose="020B0503020102020204" pitchFamily="34" charset="0"/>
                <a:ea typeface="+mn-ea"/>
                <a:cs typeface="Ang DaunKeo" panose="020B0503020102020204" pitchFamily="34" charset="0"/>
              </a:rPr>
              <a:t>ការកំណត់ </a:t>
            </a:r>
            <a:r>
              <a:rPr lang="en-US" altLang="de-DE" sz="1100" u="sng" kern="1200" dirty="0">
                <a:solidFill>
                  <a:schemeClr val="tx1"/>
                </a:solidFill>
                <a:latin typeface="Ang DaunKeo" panose="020B0503020102020204" pitchFamily="34" charset="0"/>
                <a:ea typeface="+mn-ea"/>
                <a:cs typeface="Ang DaunKeo" panose="020B0503020102020204" pitchFamily="34" charset="0"/>
              </a:rPr>
              <a:t>Quota </a:t>
            </a:r>
            <a:r>
              <a:rPr lang="km-KH" altLang="de-DE" sz="1100" u="sng" kern="1200" dirty="0">
                <a:solidFill>
                  <a:schemeClr val="tx1"/>
                </a:solidFill>
                <a:latin typeface="Ang DaunKeo" panose="020B0503020102020204" pitchFamily="34" charset="0"/>
                <a:ea typeface="+mn-ea"/>
                <a:cs typeface="Ang DaunKeo" panose="020B0503020102020204" pitchFamily="34" charset="0"/>
              </a:rPr>
              <a:t>ដែល </a:t>
            </a:r>
            <a:r>
              <a:rPr lang="en-US" altLang="de-DE" sz="1100" u="sng" kern="1200" dirty="0">
                <a:solidFill>
                  <a:schemeClr val="tx1"/>
                </a:solidFill>
                <a:latin typeface="Ang DaunKeo" panose="020B0503020102020204" pitchFamily="34" charset="0"/>
                <a:ea typeface="+mn-ea"/>
                <a:cs typeface="Ang DaunKeo" panose="020B0503020102020204" pitchFamily="34" charset="0"/>
              </a:rPr>
              <a:t>Mount point </a:t>
            </a:r>
            <a:r>
              <a:rPr lang="km-KH" altLang="de-DE" sz="1100" u="sng" kern="1200" dirty="0">
                <a:solidFill>
                  <a:schemeClr val="tx1"/>
                </a:solidFill>
                <a:latin typeface="Ang DaunKeo" panose="020B0503020102020204" pitchFamily="34" charset="0"/>
                <a:ea typeface="+mn-ea"/>
                <a:cs typeface="Ang DaunKeo" panose="020B0503020102020204" pitchFamily="34" charset="0"/>
              </a:rPr>
              <a:t>ត្រូវបាន </a:t>
            </a:r>
            <a:r>
              <a:rPr lang="en-US" altLang="de-DE" sz="1100" u="sng" kern="1200" dirty="0">
                <a:solidFill>
                  <a:schemeClr val="tx1"/>
                </a:solidFill>
                <a:latin typeface="Ang DaunKeo" panose="020B0503020102020204" pitchFamily="34" charset="0"/>
                <a:ea typeface="+mn-ea"/>
                <a:cs typeface="Ang DaunKeo" panose="020B0503020102020204" pitchFamily="34" charset="0"/>
              </a:rPr>
              <a:t>Format </a:t>
            </a:r>
            <a:r>
              <a:rPr lang="km-KH" altLang="de-DE" sz="1100" u="sng" kern="1200" dirty="0">
                <a:solidFill>
                  <a:schemeClr val="tx1"/>
                </a:solidFill>
                <a:latin typeface="Ang DaunKeo" panose="020B0503020102020204" pitchFamily="34" charset="0"/>
                <a:ea typeface="+mn-ea"/>
                <a:cs typeface="Ang DaunKeo" panose="020B0503020102020204" pitchFamily="34" charset="0"/>
              </a:rPr>
              <a:t>ជា </a:t>
            </a:r>
            <a:r>
              <a:rPr lang="en-US" altLang="de-DE" sz="1100" u="sng" kern="1200" dirty="0">
                <a:solidFill>
                  <a:schemeClr val="tx1"/>
                </a:solidFill>
                <a:latin typeface="Ang DaunKeo" panose="020B0503020102020204" pitchFamily="34" charset="0"/>
                <a:ea typeface="+mn-ea"/>
                <a:cs typeface="Ang DaunKeo" panose="020B0503020102020204" pitchFamily="34" charset="0"/>
              </a:rPr>
              <a:t>Ex4</a:t>
            </a:r>
            <a:endParaRPr kumimoji="0" lang="en-US" altLang="de-DE" sz="1100" i="0" u="sng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ng DaunKeo" panose="020B0503020102020204" pitchFamily="34" charset="0"/>
              <a:ea typeface="+mn-ea"/>
              <a:cs typeface="Ang DaunKeo" panose="020B0503020102020204" pitchFamily="34" charset="0"/>
              <a:sym typeface="Arial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xmlns="" id="{F3393BD2-127E-45D6-AEE9-2A5169605544}"/>
              </a:ext>
            </a:extLst>
          </p:cNvPr>
          <p:cNvSpPr/>
          <p:nvPr/>
        </p:nvSpPr>
        <p:spPr>
          <a:xfrm>
            <a:off x="853933" y="154444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xmlns="" id="{B56C01FF-DC58-4771-90F0-E5E423B6B011}"/>
              </a:ext>
            </a:extLst>
          </p:cNvPr>
          <p:cNvSpPr/>
          <p:nvPr/>
        </p:nvSpPr>
        <p:spPr>
          <a:xfrm>
            <a:off x="1161896" y="154444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xmlns="" id="{0EA8AA47-377D-4E58-8A52-6EF723C31B5A}"/>
              </a:ext>
            </a:extLst>
          </p:cNvPr>
          <p:cNvSpPr/>
          <p:nvPr/>
        </p:nvSpPr>
        <p:spPr>
          <a:xfrm>
            <a:off x="1777821" y="154444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xmlns="" id="{598C97D9-2C39-4499-A650-B1C9A399EE9E}"/>
              </a:ext>
            </a:extLst>
          </p:cNvPr>
          <p:cNvSpPr/>
          <p:nvPr/>
        </p:nvSpPr>
        <p:spPr>
          <a:xfrm>
            <a:off x="2085784" y="154444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xmlns="" id="{C92931A4-707A-4153-A488-4205EF9EC440}"/>
              </a:ext>
            </a:extLst>
          </p:cNvPr>
          <p:cNvSpPr/>
          <p:nvPr/>
        </p:nvSpPr>
        <p:spPr>
          <a:xfrm>
            <a:off x="2393745" y="154444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xmlns="" id="{F8354A87-64AC-405E-8CDF-3246CE4431C3}"/>
              </a:ext>
            </a:extLst>
          </p:cNvPr>
          <p:cNvSpPr/>
          <p:nvPr/>
        </p:nvSpPr>
        <p:spPr>
          <a:xfrm>
            <a:off x="1469859" y="154444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pic>
        <p:nvPicPr>
          <p:cNvPr id="91" name="Picture 90">
            <a:extLst>
              <a:ext uri="{FF2B5EF4-FFF2-40B4-BE49-F238E27FC236}">
                <a16:creationId xmlns:a16="http://schemas.microsoft.com/office/drawing/2014/main" xmlns="" id="{BB9C1E55-5E2A-4B15-85C4-B47DFA2E6411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6903568" y="101993"/>
            <a:ext cx="1025765" cy="301519"/>
          </a:xfrm>
          <a:prstGeom prst="rect">
            <a:avLst/>
          </a:prstGeom>
        </p:spPr>
      </p:pic>
      <p:pic>
        <p:nvPicPr>
          <p:cNvPr id="92" name="Picture 91">
            <a:extLst>
              <a:ext uri="{FF2B5EF4-FFF2-40B4-BE49-F238E27FC236}">
                <a16:creationId xmlns:a16="http://schemas.microsoft.com/office/drawing/2014/main" xmlns="" id="{53F256E3-95E0-429B-8984-F8AF49A6FEA1}"/>
              </a:ext>
            </a:extLst>
          </p:cNvPr>
          <p:cNvPicPr>
            <a:picLocks noChangeAspect="1"/>
          </p:cNvPicPr>
          <p:nvPr/>
        </p:nvPicPr>
        <p:blipFill rotWithShape="1">
          <a:blip r:embed="rId23"/>
          <a:srcRect/>
          <a:stretch/>
        </p:blipFill>
        <p:spPr>
          <a:xfrm>
            <a:off x="8170626" y="64585"/>
            <a:ext cx="387695" cy="395497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92879066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2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2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5" grpId="0" animBg="1"/>
      <p:bldP spid="73" grpId="0" animBg="1"/>
      <p:bldP spid="72" grpId="0" animBg="1"/>
      <p:bldP spid="8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2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0FC3722-8F96-43A5-A133-2ADF5CE88875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xmlns="" id="{475343A4-333F-4558-9B30-BC15AAB1A318}"/>
              </a:ext>
            </a:extLst>
          </p:cNvPr>
          <p:cNvSpPr/>
          <p:nvPr/>
        </p:nvSpPr>
        <p:spPr>
          <a:xfrm>
            <a:off x="-50782" y="1"/>
            <a:ext cx="11302409" cy="519489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xmlns="" id="{925C2EED-F692-4F64-B5C8-DBB35B8EAE13}"/>
              </a:ext>
            </a:extLst>
          </p:cNvPr>
          <p:cNvSpPr/>
          <p:nvPr/>
        </p:nvSpPr>
        <p:spPr>
          <a:xfrm>
            <a:off x="-55546" y="66454"/>
            <a:ext cx="11251630" cy="507704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xmlns="" id="{BE6E1CF5-59DA-43AB-9866-0328CF12083B}"/>
              </a:ext>
            </a:extLst>
          </p:cNvPr>
          <p:cNvSpPr/>
          <p:nvPr/>
        </p:nvSpPr>
        <p:spPr>
          <a:xfrm>
            <a:off x="-3" y="127067"/>
            <a:ext cx="11111023" cy="4949979"/>
          </a:xfrm>
          <a:prstGeom prst="homePlat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xmlns="" id="{5386A08B-7D7F-47E3-92B0-DE14688643F9}"/>
              </a:ext>
            </a:extLst>
          </p:cNvPr>
          <p:cNvSpPr/>
          <p:nvPr/>
        </p:nvSpPr>
        <p:spPr>
          <a:xfrm>
            <a:off x="-74428" y="152763"/>
            <a:ext cx="11129905" cy="4889366"/>
          </a:xfrm>
          <a:prstGeom prst="homePlat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	</a:t>
            </a:r>
          </a:p>
          <a:p>
            <a:r>
              <a:rPr lang="en-US" dirty="0">
                <a:solidFill>
                  <a:schemeClr val="tx1"/>
                </a:solidFill>
              </a:rPr>
              <a:t>	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1A6F54B5-0441-4560-B588-51F6748A10E7}"/>
              </a:ext>
            </a:extLst>
          </p:cNvPr>
          <p:cNvSpPr/>
          <p:nvPr/>
        </p:nvSpPr>
        <p:spPr>
          <a:xfrm>
            <a:off x="853933" y="303302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E76D8363-97F8-4D84-B055-4CAB5AF1B9B9}"/>
              </a:ext>
            </a:extLst>
          </p:cNvPr>
          <p:cNvSpPr/>
          <p:nvPr/>
        </p:nvSpPr>
        <p:spPr>
          <a:xfrm>
            <a:off x="1161896" y="303302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E1E5901C-75B9-4255-B79F-AFC39A71CB5A}"/>
              </a:ext>
            </a:extLst>
          </p:cNvPr>
          <p:cNvSpPr/>
          <p:nvPr/>
        </p:nvSpPr>
        <p:spPr>
          <a:xfrm>
            <a:off x="1777821" y="303302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5B68763A-C0FE-4288-99F2-5FD3D1D6259F}"/>
              </a:ext>
            </a:extLst>
          </p:cNvPr>
          <p:cNvSpPr/>
          <p:nvPr/>
        </p:nvSpPr>
        <p:spPr>
          <a:xfrm>
            <a:off x="2085784" y="303302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36678E34-C42F-4272-A80C-040E642AF4BE}"/>
              </a:ext>
            </a:extLst>
          </p:cNvPr>
          <p:cNvSpPr/>
          <p:nvPr/>
        </p:nvSpPr>
        <p:spPr>
          <a:xfrm>
            <a:off x="2393745" y="303302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12996ED4-A971-4578-B5CD-3D91B7A50B7D}"/>
              </a:ext>
            </a:extLst>
          </p:cNvPr>
          <p:cNvSpPr/>
          <p:nvPr/>
        </p:nvSpPr>
        <p:spPr>
          <a:xfrm>
            <a:off x="1469859" y="303302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xmlns="" id="{F4FC888B-7FCA-46F6-B3EA-F5E5A44DE1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03568" y="250851"/>
            <a:ext cx="1025765" cy="301519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xmlns="" id="{3AF8591F-F851-4C72-BCB4-63E779F403D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8170626" y="213443"/>
            <a:ext cx="387695" cy="395497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35550A92-492D-4107-8073-2D48BD6852FD}"/>
              </a:ext>
            </a:extLst>
          </p:cNvPr>
          <p:cNvSpPr txBox="1"/>
          <p:nvPr/>
        </p:nvSpPr>
        <p:spPr>
          <a:xfrm>
            <a:off x="486702" y="745257"/>
            <a:ext cx="7968597" cy="4247317"/>
          </a:xfrm>
          <a:prstGeom prst="rect">
            <a:avLst/>
          </a:prstGeom>
          <a:solidFill>
            <a:srgbClr val="000000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 enable quota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[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ot@dlp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~]#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otaon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–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v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/home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dev/sdb1  [/home]: group quotas turned on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 show statu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[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ot@dlp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~]#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otaon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–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p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oup  quota on /home (/dev/sdb1) is on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er quota on /home (/dev/sdb1) is on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 set quota to “cent”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[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ot@dlp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~]#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duota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–g cent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 set Soft Limit 4G, Hard Limit 5G (specify with kilo bytes)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k quotas for user cent (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id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500)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lesystem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blocks   soft   hard   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odes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soft    hard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/dev/sdb1      16                4096000         5120000         7             0                0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 show  statu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[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ot@dlp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~]#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pquota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-au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**  Report for user quotas on device /dev/sdb1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ock grace time:  7days; 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ode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grace time:  7day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  Block limit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er                used             soft               hard     grace              used      soft     hard      grac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-------------------------------------------------------------------------------------------------------------------------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ot         --          20            0               0                                     2            0           0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ent         +-  5120000    4096000     5120000   6days                7            0           0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edora     --           16           0               0                                      4            0           0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27C46B97-F3F8-43F8-A67A-E352BB957BC2}"/>
              </a:ext>
            </a:extLst>
          </p:cNvPr>
          <p:cNvSpPr txBox="1"/>
          <p:nvPr/>
        </p:nvSpPr>
        <p:spPr>
          <a:xfrm>
            <a:off x="486702" y="497594"/>
            <a:ext cx="344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m-KH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៥.​ កំណត់ </a:t>
            </a:r>
            <a:r>
              <a:rPr lang="en-US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Quota </a:t>
            </a:r>
            <a:r>
              <a:rPr lang="km-KH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ទៅអោយ</a:t>
            </a:r>
            <a:r>
              <a:rPr lang="en-US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Group</a:t>
            </a:r>
            <a:r>
              <a:rPr lang="km-KH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</a:t>
            </a:r>
            <a:endParaRPr lang="en-US" dirty="0">
              <a:solidFill>
                <a:srgbClr val="FFFFFF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462146149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23" end="2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24" end="2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25" end="2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26" end="2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6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0FC3722-8F96-43A5-A133-2ADF5CE88875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xmlns="" id="{475343A4-333F-4558-9B30-BC15AAB1A318}"/>
              </a:ext>
            </a:extLst>
          </p:cNvPr>
          <p:cNvSpPr/>
          <p:nvPr/>
        </p:nvSpPr>
        <p:spPr>
          <a:xfrm>
            <a:off x="-50782" y="1"/>
            <a:ext cx="11302409" cy="519489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xmlns="" id="{925C2EED-F692-4F64-B5C8-DBB35B8EAE13}"/>
              </a:ext>
            </a:extLst>
          </p:cNvPr>
          <p:cNvSpPr/>
          <p:nvPr/>
        </p:nvSpPr>
        <p:spPr>
          <a:xfrm>
            <a:off x="-55546" y="66454"/>
            <a:ext cx="11251630" cy="507704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xmlns="" id="{BE6E1CF5-59DA-43AB-9866-0328CF12083B}"/>
              </a:ext>
            </a:extLst>
          </p:cNvPr>
          <p:cNvSpPr/>
          <p:nvPr/>
        </p:nvSpPr>
        <p:spPr>
          <a:xfrm>
            <a:off x="-3" y="127067"/>
            <a:ext cx="11111023" cy="4949979"/>
          </a:xfrm>
          <a:prstGeom prst="homePlat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xmlns="" id="{5386A08B-7D7F-47E3-92B0-DE14688643F9}"/>
              </a:ext>
            </a:extLst>
          </p:cNvPr>
          <p:cNvSpPr/>
          <p:nvPr/>
        </p:nvSpPr>
        <p:spPr>
          <a:xfrm>
            <a:off x="-74428" y="152763"/>
            <a:ext cx="11129905" cy="4889366"/>
          </a:xfrm>
          <a:prstGeom prst="homePlat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	</a:t>
            </a:r>
          </a:p>
          <a:p>
            <a:r>
              <a:rPr lang="en-US" dirty="0">
                <a:solidFill>
                  <a:schemeClr val="tx1"/>
                </a:solidFill>
              </a:rPr>
              <a:t>	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1A6F54B5-0441-4560-B588-51F6748A10E7}"/>
              </a:ext>
            </a:extLst>
          </p:cNvPr>
          <p:cNvSpPr/>
          <p:nvPr/>
        </p:nvSpPr>
        <p:spPr>
          <a:xfrm>
            <a:off x="853933" y="303302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E76D8363-97F8-4D84-B055-4CAB5AF1B9B9}"/>
              </a:ext>
            </a:extLst>
          </p:cNvPr>
          <p:cNvSpPr/>
          <p:nvPr/>
        </p:nvSpPr>
        <p:spPr>
          <a:xfrm>
            <a:off x="1161896" y="303302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E1E5901C-75B9-4255-B79F-AFC39A71CB5A}"/>
              </a:ext>
            </a:extLst>
          </p:cNvPr>
          <p:cNvSpPr/>
          <p:nvPr/>
        </p:nvSpPr>
        <p:spPr>
          <a:xfrm>
            <a:off x="1777821" y="303302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5B68763A-C0FE-4288-99F2-5FD3D1D6259F}"/>
              </a:ext>
            </a:extLst>
          </p:cNvPr>
          <p:cNvSpPr/>
          <p:nvPr/>
        </p:nvSpPr>
        <p:spPr>
          <a:xfrm>
            <a:off x="2085784" y="303302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36678E34-C42F-4272-A80C-040E642AF4BE}"/>
              </a:ext>
            </a:extLst>
          </p:cNvPr>
          <p:cNvSpPr/>
          <p:nvPr/>
        </p:nvSpPr>
        <p:spPr>
          <a:xfrm>
            <a:off x="2393745" y="303302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12996ED4-A971-4578-B5CD-3D91B7A50B7D}"/>
              </a:ext>
            </a:extLst>
          </p:cNvPr>
          <p:cNvSpPr/>
          <p:nvPr/>
        </p:nvSpPr>
        <p:spPr>
          <a:xfrm>
            <a:off x="1469859" y="303302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xmlns="" id="{F4FC888B-7FCA-46F6-B3EA-F5E5A44DE1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03568" y="250851"/>
            <a:ext cx="1025765" cy="301519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xmlns="" id="{3AF8591F-F851-4C72-BCB4-63E779F403D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8170626" y="213443"/>
            <a:ext cx="387695" cy="395497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34FB8D5F-13C4-4F10-8932-52305805A1FA}"/>
              </a:ext>
            </a:extLst>
          </p:cNvPr>
          <p:cNvSpPr txBox="1"/>
          <p:nvPr/>
        </p:nvSpPr>
        <p:spPr>
          <a:xfrm>
            <a:off x="564995" y="1058626"/>
            <a:ext cx="7731512" cy="3524042"/>
          </a:xfrm>
          <a:prstGeom prst="rect">
            <a:avLst/>
          </a:prstGeom>
          <a:solidFill>
            <a:srgbClr val="000000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[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ot@dlp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~]# vi /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c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otatab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 add device and description which quota is se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dev/sdb1:  Your  Home  Director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 change domain name to your own on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[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ot@dlp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~]#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d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–I –e “s/example\.com/server\.world/g” /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c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rnquota.conf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 run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rnquota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[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ot@dlp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~]#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rnquota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–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 if a user is over the limit when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rnquota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runs, following warning is sent </a:t>
            </a:r>
            <a:endParaRPr kumimoji="0" lang="km-KH" sz="11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DaunPenh" panose="01010101010101010101" pitchFamily="2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om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ot@dlp.srv.world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Fri  Oct  23  09:38:10    2011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turn-Path: &lt;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9"/>
              </a:rPr>
              <a:t>root@dlp.srv.world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gt;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-Original-To: cen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livered-To: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0"/>
              </a:rPr>
              <a:t>cent@dlp.world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ply-To: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1"/>
              </a:rPr>
              <a:t>root@srv.world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c: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1"/>
              </a:rPr>
              <a:t>root@srv.world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e: Fri, 23 Oct 2011  09:38:10  +0900 (JST)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tus: 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626E3640-B855-403A-8088-B9100E3025F4}"/>
              </a:ext>
            </a:extLst>
          </p:cNvPr>
          <p:cNvSpPr txBox="1"/>
          <p:nvPr/>
        </p:nvSpPr>
        <p:spPr>
          <a:xfrm>
            <a:off x="564995" y="750849"/>
            <a:ext cx="37176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m-KH" dirty="0">
                <a:solidFill>
                  <a:srgbClr val="FFFFFF"/>
                </a:solidFill>
                <a:latin typeface="Khmer OS Battambang" panose="02000500000000020004" pitchFamily="2" charset="0"/>
                <a:cs typeface="Khmer OS Battambang" panose="02000500000000020004" pitchFamily="2" charset="0"/>
              </a:rPr>
              <a:t>៦.​​ យើងអាចកំណត់ការព្រមានទៅលើ </a:t>
            </a:r>
            <a:r>
              <a:rPr lang="en-US" dirty="0">
                <a:solidFill>
                  <a:srgbClr val="FFFFFF"/>
                </a:solidFill>
                <a:latin typeface="Khmer OS Battambang" panose="02000500000000020004" pitchFamily="2" charset="0"/>
                <a:cs typeface="Khmer OS Battambang" panose="02000500000000020004" pitchFamily="2" charset="0"/>
              </a:rPr>
              <a:t>Quota </a:t>
            </a:r>
            <a:r>
              <a:rPr lang="km-KH" dirty="0">
                <a:solidFill>
                  <a:srgbClr val="FFFFFF"/>
                </a:solidFill>
                <a:latin typeface="Khmer OS Battambang" panose="02000500000000020004" pitchFamily="2" charset="0"/>
                <a:cs typeface="Khmer OS Battambang" panose="02000500000000020004" pitchFamily="2" charset="0"/>
              </a:rPr>
              <a:t>បាន</a:t>
            </a:r>
            <a:endParaRPr lang="en-US" dirty="0">
              <a:solidFill>
                <a:srgbClr val="FFFFFF"/>
              </a:solidFill>
              <a:latin typeface="Khmer OS Battambang" panose="02000500000000020004" pitchFamily="2" charset="0"/>
              <a:cs typeface="Khmer OS Battambang" panose="02000500000000020004" pitchFamily="2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92843980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0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983EDB11-5B99-4F09-9BC7-D746870E1C4E}"/>
              </a:ext>
            </a:extLst>
          </p:cNvPr>
          <p:cNvSpPr/>
          <p:nvPr/>
        </p:nvSpPr>
        <p:spPr>
          <a:xfrm>
            <a:off x="874767" y="1533036"/>
            <a:ext cx="3129771" cy="166574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tIns="54864" rIns="54864" bIns="54864" numCol="1" rtlCol="0" anchor="ctr"/>
          <a:lstStyle/>
          <a:p>
            <a:pPr lvl="0" algn="ctr" defTabSz="685800">
              <a:lnSpc>
                <a:spcPct val="150000"/>
              </a:lnSpc>
              <a:buClrTx/>
              <a:defRPr/>
            </a:pPr>
            <a:r>
              <a:rPr lang="en-US" sz="14925" dirty="0">
                <a:solidFill>
                  <a:srgbClr val="273C75">
                    <a:lumMod val="20000"/>
                    <a:lumOff val="80000"/>
                  </a:srgbClr>
                </a:solidFill>
                <a:latin typeface="សម្រាប់កូនខ្មែរ" panose="02000500000000020004" pitchFamily="2" charset="0"/>
                <a:cs typeface="សម្រាប់កូនខ្មែរ" panose="02000500000000020004" pitchFamily="2" charset="0"/>
              </a:rPr>
              <a:t>7.0</a:t>
            </a:r>
            <a:endParaRPr lang="en-US" sz="750" dirty="0">
              <a:solidFill>
                <a:srgbClr val="273C75">
                  <a:lumMod val="20000"/>
                  <a:lumOff val="80000"/>
                </a:srgbClr>
              </a:solidFill>
              <a:latin typeface="សម្រាប់កូនខ្មែរ" panose="02000500000000020004" pitchFamily="2" charset="0"/>
              <a:cs typeface="សម្រាប់កូនខ្មែរ" panose="02000500000000020004" pitchFamily="2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CA0D9CDC-ABFA-43C8-8F37-F5B8682C8A96}"/>
              </a:ext>
            </a:extLst>
          </p:cNvPr>
          <p:cNvSpPr/>
          <p:nvPr/>
        </p:nvSpPr>
        <p:spPr>
          <a:xfrm>
            <a:off x="4025398" y="1478151"/>
            <a:ext cx="4143126" cy="19485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altLang="de-DE" sz="1350" b="0" i="0" u="none" strike="noStrike" kern="120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72BA5E31-8C76-4878-8E9A-40C31B4AFA64}"/>
              </a:ext>
            </a:extLst>
          </p:cNvPr>
          <p:cNvSpPr/>
          <p:nvPr/>
        </p:nvSpPr>
        <p:spPr>
          <a:xfrm>
            <a:off x="4125685" y="1222218"/>
            <a:ext cx="5018315" cy="26990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altLang="de-DE" sz="1350" b="0" i="0" u="none" strike="noStrike" kern="120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33CFFF82-1DE1-4847-A9A2-AA670A313F9F}"/>
              </a:ext>
            </a:extLst>
          </p:cNvPr>
          <p:cNvSpPr txBox="1"/>
          <p:nvPr/>
        </p:nvSpPr>
        <p:spPr>
          <a:xfrm>
            <a:off x="4401801" y="1603158"/>
            <a:ext cx="1261564" cy="738664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km-KH" altLang="de-DE" sz="4800" b="0" i="0" u="none" strike="noStrike" kern="0" cap="none" spc="0" normalizeH="0" baseline="0" noProof="0" dirty="0">
                <a:ln>
                  <a:noFill/>
                </a:ln>
                <a:solidFill>
                  <a:srgbClr val="FF560D"/>
                </a:solidFill>
                <a:effectLst/>
                <a:uLnTx/>
                <a:uFillTx/>
                <a:latin typeface="Khmer Moul" panose="02060603050605020204" pitchFamily="18" charset="0"/>
                <a:cs typeface="MoolBoran" panose="020B0100010101010101" pitchFamily="34" charset="0"/>
                <a:sym typeface="Arial"/>
              </a:rPr>
              <a:t>ជំពូកទី</a:t>
            </a:r>
            <a:r>
              <a:rPr kumimoji="0" lang="en-US" altLang="de-DE" sz="3600" b="0" i="0" u="none" strike="noStrike" kern="0" cap="none" spc="0" normalizeH="0" baseline="0" noProof="0" dirty="0">
                <a:ln>
                  <a:noFill/>
                </a:ln>
                <a:solidFill>
                  <a:srgbClr val="FF560D"/>
                </a:solidFill>
                <a:effectLst/>
                <a:uLnTx/>
                <a:uFillTx/>
                <a:latin typeface="Khmer Moul" panose="02060603050605020204" pitchFamily="18" charset="0"/>
                <a:cs typeface="Arial"/>
                <a:sym typeface="Arial"/>
              </a:rPr>
              <a:t>7</a:t>
            </a:r>
            <a:endParaRPr kumimoji="0" lang="de-DE" altLang="de-DE" sz="4800" b="0" i="0" u="none" strike="noStrike" kern="0" cap="none" spc="0" normalizeH="0" baseline="0" noProof="0" dirty="0">
              <a:ln>
                <a:noFill/>
              </a:ln>
              <a:solidFill>
                <a:srgbClr val="FF560D"/>
              </a:solidFill>
              <a:effectLst/>
              <a:uLnTx/>
              <a:uFillTx/>
              <a:latin typeface="Khmer Moul" panose="02060603050605020204" pitchFamily="18" charset="0"/>
              <a:cs typeface="Arial"/>
              <a:sym typeface="Arial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0681B20C-C864-4359-BC1C-DFEC6BA765B5}"/>
              </a:ext>
            </a:extLst>
          </p:cNvPr>
          <p:cNvSpPr txBox="1"/>
          <p:nvPr/>
        </p:nvSpPr>
        <p:spPr>
          <a:xfrm>
            <a:off x="4401801" y="2571750"/>
            <a:ext cx="4233678" cy="369332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lvl="0" defTabSz="685800">
              <a:buClrTx/>
            </a:pPr>
            <a:r>
              <a:rPr lang="en-US" altLang="de-DE" sz="2400" b="1" kern="1200" dirty="0">
                <a:solidFill>
                  <a:srgbClr val="7F8FA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LINUX NETWORKING</a:t>
            </a:r>
            <a:endParaRPr lang="de-DE" altLang="de-DE" sz="2400" kern="1200" dirty="0">
              <a:solidFill>
                <a:srgbClr val="7F8FA1"/>
              </a:solidFill>
              <a:latin typeface="Segoe UI Semibold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D3A85B3B-9595-41D1-8D4E-A095B89015D5}"/>
              </a:ext>
            </a:extLst>
          </p:cNvPr>
          <p:cNvSpPr/>
          <p:nvPr/>
        </p:nvSpPr>
        <p:spPr>
          <a:xfrm>
            <a:off x="7612912" y="159488"/>
            <a:ext cx="1297172" cy="824075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C8451DB5-32FB-442D-BF3C-107DD4C47CE6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A392EA99-7650-4CD6-AC02-71EDDD1180CD}"/>
              </a:ext>
            </a:extLst>
          </p:cNvPr>
          <p:cNvSpPr/>
          <p:nvPr/>
        </p:nvSpPr>
        <p:spPr>
          <a:xfrm>
            <a:off x="6861336" y="196976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46A53546-B7C8-4941-91D1-BC52650CB9C2}"/>
              </a:ext>
            </a:extLst>
          </p:cNvPr>
          <p:cNvSpPr/>
          <p:nvPr/>
        </p:nvSpPr>
        <p:spPr>
          <a:xfrm>
            <a:off x="7169299" y="196976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C0DCB0D5-C3A6-4790-A508-39E27DDAAEED}"/>
              </a:ext>
            </a:extLst>
          </p:cNvPr>
          <p:cNvSpPr/>
          <p:nvPr/>
        </p:nvSpPr>
        <p:spPr>
          <a:xfrm>
            <a:off x="7785224" y="196976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4C33D692-2748-41EF-9A46-F9EE123D5DC9}"/>
              </a:ext>
            </a:extLst>
          </p:cNvPr>
          <p:cNvSpPr/>
          <p:nvPr/>
        </p:nvSpPr>
        <p:spPr>
          <a:xfrm>
            <a:off x="8093187" y="196976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7E685A27-6010-491F-89B3-195D5BDDEE34}"/>
              </a:ext>
            </a:extLst>
          </p:cNvPr>
          <p:cNvSpPr/>
          <p:nvPr/>
        </p:nvSpPr>
        <p:spPr>
          <a:xfrm>
            <a:off x="8401148" y="196976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6C91627D-4B35-4B6F-978E-FEF257C88742}"/>
              </a:ext>
            </a:extLst>
          </p:cNvPr>
          <p:cNvSpPr/>
          <p:nvPr/>
        </p:nvSpPr>
        <p:spPr>
          <a:xfrm>
            <a:off x="7477262" y="196976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7BD2B1C8-EBE3-48EB-BD72-F903D0FAC8F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0330" y="144525"/>
            <a:ext cx="1025765" cy="30151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xmlns="" id="{CFF8279A-7464-4764-B13D-F5317F134C0C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1897388" y="107117"/>
            <a:ext cx="387695" cy="395497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9031403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2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2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9" grpId="0"/>
      <p:bldP spid="20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4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983EDB11-5B99-4F09-9BC7-D746870E1C4E}"/>
              </a:ext>
            </a:extLst>
          </p:cNvPr>
          <p:cNvSpPr/>
          <p:nvPr/>
        </p:nvSpPr>
        <p:spPr>
          <a:xfrm>
            <a:off x="874767" y="1533036"/>
            <a:ext cx="3129771" cy="166574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tIns="54864" rIns="54864" bIns="54864" numCol="1" rtlCol="0" anchor="ctr"/>
          <a:lstStyle/>
          <a:p>
            <a:pPr lvl="0" algn="ctr" defTabSz="685800">
              <a:lnSpc>
                <a:spcPct val="150000"/>
              </a:lnSpc>
              <a:buClrTx/>
              <a:defRPr/>
            </a:pPr>
            <a:r>
              <a:rPr lang="en-US" sz="14925" dirty="0">
                <a:solidFill>
                  <a:srgbClr val="273C75">
                    <a:lumMod val="20000"/>
                    <a:lumOff val="80000"/>
                  </a:srgbClr>
                </a:solidFill>
                <a:latin typeface="សម្រាប់កូនខ្មែរ" panose="02000500000000020004" pitchFamily="2" charset="0"/>
                <a:cs typeface="សម្រាប់កូនខ្មែរ" panose="02000500000000020004" pitchFamily="2" charset="0"/>
              </a:rPr>
              <a:t>7.1</a:t>
            </a:r>
            <a:endParaRPr lang="en-US" sz="750" dirty="0">
              <a:solidFill>
                <a:srgbClr val="273C75">
                  <a:lumMod val="20000"/>
                  <a:lumOff val="80000"/>
                </a:srgbClr>
              </a:solidFill>
              <a:latin typeface="សម្រាប់កូនខ្មែរ" panose="02000500000000020004" pitchFamily="2" charset="0"/>
              <a:cs typeface="សម្រាប់កូនខ្មែរ" panose="02000500000000020004" pitchFamily="2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CA0D9CDC-ABFA-43C8-8F37-F5B8682C8A96}"/>
              </a:ext>
            </a:extLst>
          </p:cNvPr>
          <p:cNvSpPr/>
          <p:nvPr/>
        </p:nvSpPr>
        <p:spPr>
          <a:xfrm>
            <a:off x="4025398" y="1478151"/>
            <a:ext cx="4143126" cy="19485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altLang="de-DE" sz="1350" b="0" i="0" u="none" strike="noStrike" kern="120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72BA5E31-8C76-4878-8E9A-40C31B4AFA64}"/>
              </a:ext>
            </a:extLst>
          </p:cNvPr>
          <p:cNvSpPr/>
          <p:nvPr/>
        </p:nvSpPr>
        <p:spPr>
          <a:xfrm>
            <a:off x="4125685" y="1222218"/>
            <a:ext cx="5018315" cy="26990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altLang="de-DE" sz="1350" b="0" i="0" u="none" strike="noStrike" kern="120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33CFFF82-1DE1-4847-A9A2-AA670A313F9F}"/>
              </a:ext>
            </a:extLst>
          </p:cNvPr>
          <p:cNvSpPr txBox="1"/>
          <p:nvPr/>
        </p:nvSpPr>
        <p:spPr>
          <a:xfrm>
            <a:off x="4401801" y="1603158"/>
            <a:ext cx="1261564" cy="738664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km-KH" altLang="de-DE" sz="4800" b="0" i="0" u="none" strike="noStrike" kern="0" cap="none" spc="0" normalizeH="0" baseline="0" noProof="0" dirty="0">
                <a:ln>
                  <a:noFill/>
                </a:ln>
                <a:solidFill>
                  <a:srgbClr val="FF560D"/>
                </a:solidFill>
                <a:effectLst/>
                <a:uLnTx/>
                <a:uFillTx/>
                <a:latin typeface="Khmer Moul" panose="02060603050605020204" pitchFamily="18" charset="0"/>
                <a:cs typeface="MoolBoran" panose="020B0100010101010101" pitchFamily="34" charset="0"/>
                <a:sym typeface="Arial"/>
              </a:rPr>
              <a:t>ជំពូកទី</a:t>
            </a:r>
            <a:r>
              <a:rPr kumimoji="0" lang="en-US" altLang="de-DE" sz="3600" b="0" i="0" u="none" strike="noStrike" kern="0" cap="none" spc="0" normalizeH="0" baseline="0" noProof="0" dirty="0">
                <a:ln>
                  <a:noFill/>
                </a:ln>
                <a:solidFill>
                  <a:srgbClr val="FF560D"/>
                </a:solidFill>
                <a:effectLst/>
                <a:uLnTx/>
                <a:uFillTx/>
                <a:latin typeface="Khmer Moul" panose="02060603050605020204" pitchFamily="18" charset="0"/>
                <a:cs typeface="Arial"/>
                <a:sym typeface="Arial"/>
              </a:rPr>
              <a:t>7</a:t>
            </a:r>
            <a:endParaRPr kumimoji="0" lang="de-DE" altLang="de-DE" sz="4800" b="0" i="0" u="none" strike="noStrike" kern="0" cap="none" spc="0" normalizeH="0" baseline="0" noProof="0" dirty="0">
              <a:ln>
                <a:noFill/>
              </a:ln>
              <a:solidFill>
                <a:srgbClr val="FF560D"/>
              </a:solidFill>
              <a:effectLst/>
              <a:uLnTx/>
              <a:uFillTx/>
              <a:latin typeface="Khmer Moul" panose="02060603050605020204" pitchFamily="18" charset="0"/>
              <a:cs typeface="Arial"/>
              <a:sym typeface="Arial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0681B20C-C864-4359-BC1C-DFEC6BA765B5}"/>
              </a:ext>
            </a:extLst>
          </p:cNvPr>
          <p:cNvSpPr txBox="1"/>
          <p:nvPr/>
        </p:nvSpPr>
        <p:spPr>
          <a:xfrm>
            <a:off x="4401801" y="2514926"/>
            <a:ext cx="4233678" cy="369332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lvl="0" defTabSz="685800">
              <a:buClrTx/>
            </a:pPr>
            <a:r>
              <a:rPr lang="en-US" altLang="de-DE" sz="2400" b="1" kern="1200" dirty="0">
                <a:solidFill>
                  <a:srgbClr val="7F8FA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NETWORKING CONFIGURATION</a:t>
            </a:r>
            <a:endParaRPr lang="de-DE" altLang="de-DE" sz="2400" kern="1200" dirty="0">
              <a:solidFill>
                <a:srgbClr val="7F8FA1"/>
              </a:solidFill>
              <a:latin typeface="Segoe UI Semibold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0CA09372-A43E-4A8D-93D1-E60E65DBDF6C}"/>
              </a:ext>
            </a:extLst>
          </p:cNvPr>
          <p:cNvSpPr/>
          <p:nvPr/>
        </p:nvSpPr>
        <p:spPr>
          <a:xfrm>
            <a:off x="7612912" y="159488"/>
            <a:ext cx="1297172" cy="824075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22AAB250-95CA-4258-A7B6-2C3E54E180DB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2668DF8C-F35E-4143-BFDE-A60B66F360DA}"/>
              </a:ext>
            </a:extLst>
          </p:cNvPr>
          <p:cNvSpPr/>
          <p:nvPr/>
        </p:nvSpPr>
        <p:spPr>
          <a:xfrm>
            <a:off x="6861336" y="196976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A0F76A72-B166-4CA8-B7D6-1A6B01589157}"/>
              </a:ext>
            </a:extLst>
          </p:cNvPr>
          <p:cNvSpPr/>
          <p:nvPr/>
        </p:nvSpPr>
        <p:spPr>
          <a:xfrm>
            <a:off x="7169299" y="196976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CAF79BB0-BC73-4FB9-AAF3-E5DD9768233C}"/>
              </a:ext>
            </a:extLst>
          </p:cNvPr>
          <p:cNvSpPr/>
          <p:nvPr/>
        </p:nvSpPr>
        <p:spPr>
          <a:xfrm>
            <a:off x="7785224" y="196976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E88F07D9-2542-4E8E-B20B-087A77226174}"/>
              </a:ext>
            </a:extLst>
          </p:cNvPr>
          <p:cNvSpPr/>
          <p:nvPr/>
        </p:nvSpPr>
        <p:spPr>
          <a:xfrm>
            <a:off x="8093187" y="196976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00E9B783-C939-4F5C-8DA5-936EF6B734BE}"/>
              </a:ext>
            </a:extLst>
          </p:cNvPr>
          <p:cNvSpPr/>
          <p:nvPr/>
        </p:nvSpPr>
        <p:spPr>
          <a:xfrm>
            <a:off x="8401148" y="196976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2034DABD-1DE8-45D4-8387-8F550982E9E8}"/>
              </a:ext>
            </a:extLst>
          </p:cNvPr>
          <p:cNvSpPr/>
          <p:nvPr/>
        </p:nvSpPr>
        <p:spPr>
          <a:xfrm>
            <a:off x="7477262" y="196976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03A71FDC-F14F-41BA-AE75-251280C48B0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0330" y="144525"/>
            <a:ext cx="1025765" cy="30151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xmlns="" id="{D7182595-D820-4FB4-AFFE-CF55DF5D3AE1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1897388" y="107117"/>
            <a:ext cx="387695" cy="395497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30400249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2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2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9" grpId="0"/>
      <p:bldP spid="20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8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983EDB11-5B99-4F09-9BC7-D746870E1C4E}"/>
              </a:ext>
            </a:extLst>
          </p:cNvPr>
          <p:cNvSpPr/>
          <p:nvPr/>
        </p:nvSpPr>
        <p:spPr>
          <a:xfrm>
            <a:off x="874767" y="1533036"/>
            <a:ext cx="3129771" cy="166574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tIns="54864" rIns="54864" bIns="54864" numCol="1" rtlCol="0" anchor="ctr"/>
          <a:lstStyle/>
          <a:p>
            <a:pPr marL="0" marR="0" lvl="0" indent="0" algn="ctr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925" b="0" i="0" u="none" strike="noStrike" kern="0" cap="none" spc="0" normalizeH="0" baseline="0" noProof="0" dirty="0">
                <a:ln>
                  <a:noFill/>
                </a:ln>
                <a:solidFill>
                  <a:srgbClr val="273C75">
                    <a:lumMod val="20000"/>
                    <a:lumOff val="80000"/>
                  </a:srgbClr>
                </a:solidFill>
                <a:effectLst/>
                <a:uLnTx/>
                <a:uFillTx/>
                <a:latin typeface="សម្រាប់កូនខ្មែរ" panose="02000500000000020004" pitchFamily="2" charset="0"/>
                <a:ea typeface="+mn-ea"/>
                <a:cs typeface="សម្រាប់កូនខ្មែរ" panose="02000500000000020004" pitchFamily="2" charset="0"/>
                <a:sym typeface="Arial"/>
              </a:rPr>
              <a:t>1.1</a:t>
            </a:r>
            <a:endParaRPr kumimoji="0" lang="en-US" sz="750" b="0" i="0" u="none" strike="noStrike" kern="0" cap="none" spc="0" normalizeH="0" baseline="0" noProof="0" dirty="0">
              <a:ln>
                <a:noFill/>
              </a:ln>
              <a:solidFill>
                <a:srgbClr val="273C75">
                  <a:lumMod val="20000"/>
                  <a:lumOff val="80000"/>
                </a:srgbClr>
              </a:solidFill>
              <a:effectLst/>
              <a:uLnTx/>
              <a:uFillTx/>
              <a:latin typeface="សម្រាប់កូនខ្មែរ" panose="02000500000000020004" pitchFamily="2" charset="0"/>
              <a:ea typeface="+mn-ea"/>
              <a:cs typeface="សម្រាប់កូនខ្មែរ" panose="02000500000000020004" pitchFamily="2" charset="0"/>
              <a:sym typeface="Arial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CA0D9CDC-ABFA-43C8-8F37-F5B8682C8A96}"/>
              </a:ext>
            </a:extLst>
          </p:cNvPr>
          <p:cNvSpPr/>
          <p:nvPr/>
        </p:nvSpPr>
        <p:spPr>
          <a:xfrm>
            <a:off x="4025398" y="1478151"/>
            <a:ext cx="4143126" cy="19485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altLang="de-DE" sz="1350" b="0" i="0" u="none" strike="noStrike" kern="120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72BA5E31-8C76-4878-8E9A-40C31B4AFA64}"/>
              </a:ext>
            </a:extLst>
          </p:cNvPr>
          <p:cNvSpPr/>
          <p:nvPr/>
        </p:nvSpPr>
        <p:spPr>
          <a:xfrm>
            <a:off x="4125685" y="1222218"/>
            <a:ext cx="5018315" cy="26990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altLang="de-DE" sz="1350" b="0" i="0" u="none" strike="noStrike" kern="120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33CFFF82-1DE1-4847-A9A2-AA670A313F9F}"/>
              </a:ext>
            </a:extLst>
          </p:cNvPr>
          <p:cNvSpPr txBox="1"/>
          <p:nvPr/>
        </p:nvSpPr>
        <p:spPr>
          <a:xfrm>
            <a:off x="4401801" y="1603158"/>
            <a:ext cx="1261564" cy="738664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km-KH" altLang="de-DE" sz="4800" b="0" i="0" u="none" strike="noStrike" kern="0" cap="none" spc="0" normalizeH="0" baseline="0" noProof="0" dirty="0">
                <a:ln>
                  <a:noFill/>
                </a:ln>
                <a:solidFill>
                  <a:srgbClr val="FF560D"/>
                </a:solidFill>
                <a:effectLst/>
                <a:uLnTx/>
                <a:uFillTx/>
                <a:latin typeface="Khmer Moul" panose="02060603050605020204" pitchFamily="18" charset="0"/>
                <a:cs typeface="MoolBoran" panose="020B0100010101010101" pitchFamily="34" charset="0"/>
                <a:sym typeface="Arial"/>
              </a:rPr>
              <a:t>ជំពូកទី</a:t>
            </a:r>
            <a:r>
              <a:rPr kumimoji="0" lang="en-US" altLang="de-DE" sz="3600" b="0" i="0" u="none" strike="noStrike" kern="0" cap="none" spc="0" normalizeH="0" baseline="0" noProof="0" dirty="0">
                <a:ln>
                  <a:noFill/>
                </a:ln>
                <a:solidFill>
                  <a:srgbClr val="FF560D"/>
                </a:solidFill>
                <a:effectLst/>
                <a:uLnTx/>
                <a:uFillTx/>
                <a:latin typeface="Khmer Moul" panose="02060603050605020204" pitchFamily="18" charset="0"/>
                <a:cs typeface="Arial"/>
                <a:sym typeface="Arial"/>
              </a:rPr>
              <a:t>7</a:t>
            </a:r>
            <a:endParaRPr kumimoji="0" lang="de-DE" altLang="de-DE" sz="4800" b="0" i="0" u="none" strike="noStrike" kern="0" cap="none" spc="0" normalizeH="0" baseline="0" noProof="0" dirty="0">
              <a:ln>
                <a:noFill/>
              </a:ln>
              <a:solidFill>
                <a:srgbClr val="FF560D"/>
              </a:solidFill>
              <a:effectLst/>
              <a:uLnTx/>
              <a:uFillTx/>
              <a:latin typeface="Khmer Moul" panose="02060603050605020204" pitchFamily="18" charset="0"/>
              <a:cs typeface="Arial"/>
              <a:sym typeface="Arial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0681B20C-C864-4359-BC1C-DFEC6BA765B5}"/>
              </a:ext>
            </a:extLst>
          </p:cNvPr>
          <p:cNvSpPr txBox="1"/>
          <p:nvPr/>
        </p:nvSpPr>
        <p:spPr>
          <a:xfrm>
            <a:off x="4401801" y="2432347"/>
            <a:ext cx="4233678" cy="738664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km-KH" altLang="de-DE" sz="2400" b="1" i="0" u="none" strike="noStrike" kern="1200" cap="none" spc="0" normalizeH="0" baseline="0" noProof="0" dirty="0">
                <a:ln>
                  <a:noFill/>
                </a:ln>
                <a:solidFill>
                  <a:srgbClr val="7F8FA1"/>
                </a:solidFill>
                <a:effectLst/>
                <a:uLnTx/>
                <a:uFillTx/>
                <a:latin typeface="Ang DaunKeo" panose="020B0503020102020204" pitchFamily="34" charset="0"/>
                <a:ea typeface="+mn-ea"/>
                <a:cs typeface="Ang DaunKeo" panose="020B0503020102020204" pitchFamily="34" charset="0"/>
                <a:sym typeface="Arial"/>
              </a:rPr>
              <a:t>ចំពោះ</a:t>
            </a:r>
            <a:r>
              <a:rPr kumimoji="0" lang="km-KH" alt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7F8FA1"/>
                </a:solidFill>
                <a:effectLst/>
                <a:uLnTx/>
                <a:uFillTx/>
                <a:latin typeface="Segoe UI Semibold"/>
                <a:ea typeface="+mn-ea"/>
                <a:cs typeface="+mn-cs"/>
                <a:sym typeface="Arial"/>
              </a:rPr>
              <a:t> </a:t>
            </a:r>
            <a:r>
              <a:rPr kumimoji="0" lang="de-DE" alt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7F8FA1"/>
                </a:solidFill>
                <a:effectLst/>
                <a:uLnTx/>
                <a:uFillTx/>
                <a:latin typeface="Segoe UI Semibold"/>
                <a:ea typeface="+mn-ea"/>
                <a:cs typeface="Arial"/>
                <a:sym typeface="Arial"/>
              </a:rPr>
              <a:t>network </a:t>
            </a:r>
            <a:r>
              <a:rPr kumimoji="0" lang="km-KH" altLang="de-DE" sz="2400" b="1" i="0" u="none" strike="noStrike" kern="1200" cap="none" spc="0" normalizeH="0" baseline="0" noProof="0" dirty="0">
                <a:ln>
                  <a:noFill/>
                </a:ln>
                <a:solidFill>
                  <a:srgbClr val="7F8FA1"/>
                </a:solidFill>
                <a:effectLst/>
                <a:uLnTx/>
                <a:uFillTx/>
                <a:latin typeface="Ang DaunKeo" panose="020B0503020102020204" pitchFamily="34" charset="0"/>
                <a:ea typeface="+mn-ea"/>
                <a:cs typeface="Ang DaunKeo" panose="020B0503020102020204" pitchFamily="34" charset="0"/>
                <a:sym typeface="Arial"/>
              </a:rPr>
              <a:t>ដែលតភ្ជា ប់ដោយប្រើខ្សែ</a:t>
            </a:r>
            <a:r>
              <a:rPr kumimoji="0" lang="km-KH" alt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7F8FA1"/>
                </a:solidFill>
                <a:effectLst/>
                <a:uLnTx/>
                <a:uFillTx/>
                <a:latin typeface="Ang DaunKeo" panose="020B0503020102020204" pitchFamily="34" charset="0"/>
                <a:ea typeface="+mn-ea"/>
                <a:cs typeface="Ang DaunKeo" panose="020B0503020102020204" pitchFamily="34" charset="0"/>
                <a:sym typeface="Arial"/>
              </a:rPr>
              <a:t> </a:t>
            </a:r>
            <a:r>
              <a:rPr kumimoji="0" lang="km-KH" alt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7F8FA1"/>
                </a:solidFill>
                <a:effectLst/>
                <a:uLnTx/>
                <a:uFillTx/>
                <a:latin typeface="Segoe UI Semibold"/>
                <a:ea typeface="+mn-ea"/>
                <a:cs typeface="+mn-cs"/>
                <a:sym typeface="Arial"/>
              </a:rPr>
              <a:t>(</a:t>
            </a:r>
            <a:r>
              <a:rPr kumimoji="0" lang="de-DE" alt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7F8FA1"/>
                </a:solidFill>
                <a:effectLst/>
                <a:uLnTx/>
                <a:uFillTx/>
                <a:latin typeface="Segoe UI Semibold"/>
                <a:ea typeface="+mn-ea"/>
                <a:cs typeface="Arial"/>
                <a:sym typeface="Arial"/>
              </a:rPr>
              <a:t>Wired Networking)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14C9575D-318C-4AD6-90B4-D8F625A91B8F}"/>
              </a:ext>
            </a:extLst>
          </p:cNvPr>
          <p:cNvSpPr/>
          <p:nvPr/>
        </p:nvSpPr>
        <p:spPr>
          <a:xfrm>
            <a:off x="7612912" y="159488"/>
            <a:ext cx="1297172" cy="824075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18A78DC9-990F-472B-A788-07FCA2B04A03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29B327AB-B323-49B0-8100-DC7C243872B0}"/>
              </a:ext>
            </a:extLst>
          </p:cNvPr>
          <p:cNvSpPr/>
          <p:nvPr/>
        </p:nvSpPr>
        <p:spPr>
          <a:xfrm>
            <a:off x="6861336" y="196976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66A35822-9819-4B1B-A539-14CFD1BBEBA1}"/>
              </a:ext>
            </a:extLst>
          </p:cNvPr>
          <p:cNvSpPr/>
          <p:nvPr/>
        </p:nvSpPr>
        <p:spPr>
          <a:xfrm>
            <a:off x="7169299" y="196976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A171A2AC-AEF2-4C9F-BA72-3EB351364A7A}"/>
              </a:ext>
            </a:extLst>
          </p:cNvPr>
          <p:cNvSpPr/>
          <p:nvPr/>
        </p:nvSpPr>
        <p:spPr>
          <a:xfrm>
            <a:off x="7785224" y="196976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032EF7F2-DD3F-4EA8-A21E-EFD561E19953}"/>
              </a:ext>
            </a:extLst>
          </p:cNvPr>
          <p:cNvSpPr/>
          <p:nvPr/>
        </p:nvSpPr>
        <p:spPr>
          <a:xfrm>
            <a:off x="8093187" y="196976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094F5D36-0122-410A-8FF9-EF44DE7F8C10}"/>
              </a:ext>
            </a:extLst>
          </p:cNvPr>
          <p:cNvSpPr/>
          <p:nvPr/>
        </p:nvSpPr>
        <p:spPr>
          <a:xfrm>
            <a:off x="8401148" y="196976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8B7F4556-CACB-4800-B9CF-F0488D354AAB}"/>
              </a:ext>
            </a:extLst>
          </p:cNvPr>
          <p:cNvSpPr/>
          <p:nvPr/>
        </p:nvSpPr>
        <p:spPr>
          <a:xfrm>
            <a:off x="7477262" y="196976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05BF1863-85D1-4017-B9AB-0B570F708E9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0330" y="144525"/>
            <a:ext cx="1025765" cy="30151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xmlns="" id="{7424C9A4-E9D4-414B-8A9B-4D3298C194F9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1897388" y="107117"/>
            <a:ext cx="387695" cy="395497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2171950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2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2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9" grpId="0"/>
      <p:bldP spid="20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2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0FC3722-8F96-43A5-A133-2ADF5CE88875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xmlns="" id="{475343A4-333F-4558-9B30-BC15AAB1A318}"/>
              </a:ext>
            </a:extLst>
          </p:cNvPr>
          <p:cNvSpPr/>
          <p:nvPr/>
        </p:nvSpPr>
        <p:spPr>
          <a:xfrm>
            <a:off x="-50782" y="1"/>
            <a:ext cx="11302409" cy="519489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xmlns="" id="{925C2EED-F692-4F64-B5C8-DBB35B8EAE13}"/>
              </a:ext>
            </a:extLst>
          </p:cNvPr>
          <p:cNvSpPr/>
          <p:nvPr/>
        </p:nvSpPr>
        <p:spPr>
          <a:xfrm>
            <a:off x="-55546" y="66454"/>
            <a:ext cx="11251630" cy="507704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xmlns="" id="{BE6E1CF5-59DA-43AB-9866-0328CF12083B}"/>
              </a:ext>
            </a:extLst>
          </p:cNvPr>
          <p:cNvSpPr/>
          <p:nvPr/>
        </p:nvSpPr>
        <p:spPr>
          <a:xfrm>
            <a:off x="-3" y="127067"/>
            <a:ext cx="11111023" cy="4949979"/>
          </a:xfrm>
          <a:prstGeom prst="homePlat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xmlns="" id="{5386A08B-7D7F-47E3-92B0-DE14688643F9}"/>
              </a:ext>
            </a:extLst>
          </p:cNvPr>
          <p:cNvSpPr/>
          <p:nvPr/>
        </p:nvSpPr>
        <p:spPr>
          <a:xfrm>
            <a:off x="-74428" y="152763"/>
            <a:ext cx="11129905" cy="4889366"/>
          </a:xfrm>
          <a:prstGeom prst="homePlat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lang="en-US" dirty="0">
              <a:solidFill>
                <a:schemeClr val="accent4"/>
              </a:solidFill>
              <a:latin typeface="Segoe UI Semibold"/>
            </a:endParaRPr>
          </a:p>
          <a:p>
            <a:pPr lvl="2"/>
            <a:endParaRPr lang="en-US" dirty="0">
              <a:solidFill>
                <a:schemeClr val="accent4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lvl="2"/>
            <a:r>
              <a:rPr lang="en-US" dirty="0">
                <a:solidFill>
                  <a:schemeClr val="accent4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r>
              <a:rPr lang="km-KH" dirty="0">
                <a:solidFill>
                  <a:schemeClr val="accent4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[1] កំណត់ </a:t>
            </a:r>
            <a:r>
              <a:rPr lang="en-US" dirty="0">
                <a:solidFill>
                  <a:schemeClr val="accent4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IP address </a:t>
            </a:r>
            <a:r>
              <a:rPr lang="km-KH" dirty="0">
                <a:solidFill>
                  <a:schemeClr val="accent4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ជា </a:t>
            </a:r>
            <a:r>
              <a:rPr lang="en-US" dirty="0">
                <a:solidFill>
                  <a:schemeClr val="accent4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static </a:t>
            </a:r>
            <a:r>
              <a:rPr lang="km-KH" dirty="0">
                <a:solidFill>
                  <a:schemeClr val="accent4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ទៅឲ្យ </a:t>
            </a:r>
            <a:r>
              <a:rPr lang="en-US" dirty="0">
                <a:solidFill>
                  <a:schemeClr val="accent4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Serv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1A6F54B5-0441-4560-B588-51F6748A10E7}"/>
              </a:ext>
            </a:extLst>
          </p:cNvPr>
          <p:cNvSpPr/>
          <p:nvPr/>
        </p:nvSpPr>
        <p:spPr>
          <a:xfrm>
            <a:off x="853933" y="303302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E76D8363-97F8-4D84-B055-4CAB5AF1B9B9}"/>
              </a:ext>
            </a:extLst>
          </p:cNvPr>
          <p:cNvSpPr/>
          <p:nvPr/>
        </p:nvSpPr>
        <p:spPr>
          <a:xfrm>
            <a:off x="1161896" y="303302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E1E5901C-75B9-4255-B79F-AFC39A71CB5A}"/>
              </a:ext>
            </a:extLst>
          </p:cNvPr>
          <p:cNvSpPr/>
          <p:nvPr/>
        </p:nvSpPr>
        <p:spPr>
          <a:xfrm>
            <a:off x="1777821" y="303302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5B68763A-C0FE-4288-99F2-5FD3D1D6259F}"/>
              </a:ext>
            </a:extLst>
          </p:cNvPr>
          <p:cNvSpPr/>
          <p:nvPr/>
        </p:nvSpPr>
        <p:spPr>
          <a:xfrm>
            <a:off x="2085784" y="303302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36678E34-C42F-4272-A80C-040E642AF4BE}"/>
              </a:ext>
            </a:extLst>
          </p:cNvPr>
          <p:cNvSpPr/>
          <p:nvPr/>
        </p:nvSpPr>
        <p:spPr>
          <a:xfrm>
            <a:off x="2393745" y="303302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12996ED4-A971-4578-B5CD-3D91B7A50B7D}"/>
              </a:ext>
            </a:extLst>
          </p:cNvPr>
          <p:cNvSpPr/>
          <p:nvPr/>
        </p:nvSpPr>
        <p:spPr>
          <a:xfrm>
            <a:off x="1469859" y="303302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xmlns="" id="{F4FC888B-7FCA-46F6-B3EA-F5E5A44DE1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03568" y="250851"/>
            <a:ext cx="1025765" cy="301519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xmlns="" id="{3AF8591F-F851-4C72-BCB4-63E779F403D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8170626" y="213443"/>
            <a:ext cx="387695" cy="395497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7617DD60-ACC1-4B3D-9688-6C9FA0B2E896}"/>
              </a:ext>
            </a:extLst>
          </p:cNvPr>
          <p:cNvSpPr txBox="1"/>
          <p:nvPr/>
        </p:nvSpPr>
        <p:spPr>
          <a:xfrm>
            <a:off x="903087" y="850556"/>
            <a:ext cx="7655234" cy="4185761"/>
          </a:xfrm>
          <a:prstGeom prst="rect">
            <a:avLst/>
          </a:prstGeom>
          <a:solidFill>
            <a:srgbClr val="000000"/>
          </a:solidFill>
          <a:ln>
            <a:solidFill>
              <a:srgbClr val="FFFFFF"/>
            </a:solidFill>
          </a:ln>
        </p:spPr>
        <p:txBody>
          <a:bodyPr wrap="square" numCol="2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g DaunKeo" panose="020B0503020102020204" pitchFamily="34" charset="0"/>
                <a:cs typeface="Ang DaunKeo" panose="020B0503020102020204" pitchFamily="34" charset="0"/>
              </a:rPr>
              <a:t>[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g DaunKeo" panose="020B0503020102020204" pitchFamily="34" charset="0"/>
                <a:cs typeface="Ang DaunKeo" panose="020B0503020102020204" pitchFamily="34" charset="0"/>
              </a:rPr>
              <a:t>root@dip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g DaunKeo" panose="020B0503020102020204" pitchFamily="34" charset="0"/>
                <a:cs typeface="Ang DaunKeo" panose="020B0503020102020204" pitchFamily="34" charset="0"/>
              </a:rPr>
              <a:t> ~]# vi /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g DaunKeo" panose="020B0503020102020204" pitchFamily="34" charset="0"/>
                <a:cs typeface="Ang DaunKeo" panose="020B0503020102020204" pitchFamily="34" charset="0"/>
              </a:rPr>
              <a:t>etc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g DaunKeo" panose="020B0503020102020204" pitchFamily="34" charset="0"/>
                <a:cs typeface="Ang DaunKeo" panose="020B0503020102020204" pitchFamily="34" charset="0"/>
              </a:rPr>
              <a:t>/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g DaunKeo" panose="020B0503020102020204" pitchFamily="34" charset="0"/>
                <a:cs typeface="Ang DaunKeo" panose="020B0503020102020204" pitchFamily="34" charset="0"/>
              </a:rPr>
              <a:t>sysconfig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g DaunKeo" panose="020B0503020102020204" pitchFamily="34" charset="0"/>
                <a:cs typeface="Ang DaunKeo" panose="020B0503020102020204" pitchFamily="34" charset="0"/>
              </a:rPr>
              <a:t>/network-scripts/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g DaunKeo" panose="020B0503020102020204" pitchFamily="34" charset="0"/>
                <a:cs typeface="Ang DaunKeo" panose="020B0503020102020204" pitchFamily="34" charset="0"/>
              </a:rPr>
              <a:t>ifcfg-etho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g DaunKeo" panose="020B0503020102020204" pitchFamily="34" charset="0"/>
                <a:cs typeface="Ang DaunKeo" panose="020B0503020102020204" pitchFamily="34" charset="0"/>
              </a:rPr>
              <a:t>DEVICE=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g DaunKeo" panose="020B0503020102020204" pitchFamily="34" charset="0"/>
                <a:cs typeface="Ang DaunKeo" panose="020B0503020102020204" pitchFamily="34" charset="0"/>
              </a:rPr>
              <a:t>etho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g DaunKeo" panose="020B0503020102020204" pitchFamily="34" charset="0"/>
                <a:cs typeface="Ang DaunKeo" panose="020B0503020102020204" pitchFamily="34" charset="0"/>
              </a:rPr>
              <a:t>HWADDR=00:50:43:00:3B:A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g DaunKeo" panose="020B0503020102020204" pitchFamily="34" charset="0"/>
                <a:cs typeface="Ang DaunKeo" panose="020B0503020102020204" pitchFamily="34" charset="0"/>
              </a:rPr>
              <a:t>TYPE=Etherne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UUID=c1539085-73d7-4455-ac82-88126464458a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rgbClr val="FFFFFF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# chan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g DaunKeo" panose="020B0503020102020204" pitchFamily="34" charset="0"/>
                <a:cs typeface="Ang DaunKeo" panose="020B0503020102020204" pitchFamily="34" charset="0"/>
              </a:rPr>
              <a:t>ONBOOT=ye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g DaunKeo" panose="020B0503020102020204" pitchFamily="34" charset="0"/>
                <a:cs typeface="Ang DaunKeo" panose="020B0503020102020204" pitchFamily="34" charset="0"/>
              </a:rPr>
              <a:t>NM_CONTROLLED=ye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g DaunKeo" panose="020B0503020102020204" pitchFamily="34" charset="0"/>
                <a:cs typeface="Ang DaunKeo" panose="020B0503020102020204" pitchFamily="34" charset="0"/>
              </a:rPr>
              <a:t># chan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g DaunKeo" panose="020B0503020102020204" pitchFamily="34" charset="0"/>
                <a:cs typeface="Ang DaunKeo" panose="020B0503020102020204" pitchFamily="34" charset="0"/>
              </a:rPr>
              <a:t>BOOTPROTO=none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g DaunKeo" panose="020B0503020102020204" pitchFamily="34" charset="0"/>
                <a:cs typeface="Ang DaunKeo" panose="020B0503020102020204" pitchFamily="34" charset="0"/>
              </a:rPr>
              <a:t># add follow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g DaunKeo" panose="020B0503020102020204" pitchFamily="34" charset="0"/>
                <a:cs typeface="Ang DaunKeo" panose="020B0503020102020204" pitchFamily="34" charset="0"/>
              </a:rPr>
              <a:t># this server's IP addres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g DaunKeo" panose="020B0503020102020204" pitchFamily="34" charset="0"/>
                <a:cs typeface="Ang DaunKeo" panose="020B0503020102020204" pitchFamily="34" charset="0"/>
              </a:rPr>
              <a:t>IPADDR=10.0.0.30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g DaunKeo" panose="020B0503020102020204" pitchFamily="34" charset="0"/>
                <a:cs typeface="Ang DaunKeo" panose="020B0503020102020204" pitchFamily="34" charset="0"/>
              </a:rPr>
              <a:t># subnet mask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g DaunKeo" panose="020B0503020102020204" pitchFamily="34" charset="0"/>
                <a:cs typeface="Ang DaunKeo" panose="020B0503020102020204" pitchFamily="34" charset="0"/>
              </a:rPr>
              <a:t>NETMASK-255.255.255.0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g DaunKeo" panose="020B0503020102020204" pitchFamily="34" charset="0"/>
                <a:cs typeface="Ang DaunKeo" panose="020B0503020102020204" pitchFamily="34" charset="0"/>
              </a:rPr>
              <a:t># default gateway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g DaunKeo" panose="020B0503020102020204" pitchFamily="34" charset="0"/>
                <a:cs typeface="Ang DaunKeo" panose="020B0503020102020204" pitchFamily="34" charset="0"/>
              </a:rPr>
              <a:t>GATEWAY-10.0.0.1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g DaunKeo" panose="020B0503020102020204" pitchFamily="34" charset="0"/>
                <a:cs typeface="Ang DaunKeo" panose="020B0503020102020204" pitchFamily="34" charset="0"/>
              </a:rPr>
              <a:t>#DNS server's IP address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g DaunKeo" panose="020B0503020102020204" pitchFamily="34" charset="0"/>
                <a:cs typeface="Ang DaunKeo" panose="020B0503020102020204" pitchFamily="34" charset="0"/>
              </a:rPr>
              <a:t>DNS1-10.0.0.10 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IPV6INIT=no 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USERCTL=no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ng DaunKeo" panose="020B0503020102020204" pitchFamily="34" charset="0"/>
              <a:cs typeface="Ang DaunKeo" panose="020B05030201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843747141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1" end="2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3" end="2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4" end="2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5" end="2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6" end="2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6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0FC3722-8F96-43A5-A133-2ADF5CE88875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xmlns="" id="{475343A4-333F-4558-9B30-BC15AAB1A318}"/>
              </a:ext>
            </a:extLst>
          </p:cNvPr>
          <p:cNvSpPr/>
          <p:nvPr/>
        </p:nvSpPr>
        <p:spPr>
          <a:xfrm>
            <a:off x="-50782" y="1"/>
            <a:ext cx="11302409" cy="519489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xmlns="" id="{925C2EED-F692-4F64-B5C8-DBB35B8EAE13}"/>
              </a:ext>
            </a:extLst>
          </p:cNvPr>
          <p:cNvSpPr/>
          <p:nvPr/>
        </p:nvSpPr>
        <p:spPr>
          <a:xfrm>
            <a:off x="-55546" y="66454"/>
            <a:ext cx="11251630" cy="507704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xmlns="" id="{BE6E1CF5-59DA-43AB-9866-0328CF12083B}"/>
              </a:ext>
            </a:extLst>
          </p:cNvPr>
          <p:cNvSpPr/>
          <p:nvPr/>
        </p:nvSpPr>
        <p:spPr>
          <a:xfrm>
            <a:off x="-3" y="127067"/>
            <a:ext cx="11111023" cy="4949979"/>
          </a:xfrm>
          <a:prstGeom prst="homePlat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xmlns="" id="{5386A08B-7D7F-47E3-92B0-DE14688643F9}"/>
              </a:ext>
            </a:extLst>
          </p:cNvPr>
          <p:cNvSpPr/>
          <p:nvPr/>
        </p:nvSpPr>
        <p:spPr>
          <a:xfrm>
            <a:off x="-74428" y="152763"/>
            <a:ext cx="11129905" cy="4889366"/>
          </a:xfrm>
          <a:prstGeom prst="homePlat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lang="en-US" dirty="0">
              <a:solidFill>
                <a:schemeClr val="accent4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1A6F54B5-0441-4560-B588-51F6748A10E7}"/>
              </a:ext>
            </a:extLst>
          </p:cNvPr>
          <p:cNvSpPr/>
          <p:nvPr/>
        </p:nvSpPr>
        <p:spPr>
          <a:xfrm>
            <a:off x="853933" y="303302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E76D8363-97F8-4D84-B055-4CAB5AF1B9B9}"/>
              </a:ext>
            </a:extLst>
          </p:cNvPr>
          <p:cNvSpPr/>
          <p:nvPr/>
        </p:nvSpPr>
        <p:spPr>
          <a:xfrm>
            <a:off x="1161896" y="303302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E1E5901C-75B9-4255-B79F-AFC39A71CB5A}"/>
              </a:ext>
            </a:extLst>
          </p:cNvPr>
          <p:cNvSpPr/>
          <p:nvPr/>
        </p:nvSpPr>
        <p:spPr>
          <a:xfrm>
            <a:off x="1777821" y="303302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5B68763A-C0FE-4288-99F2-5FD3D1D6259F}"/>
              </a:ext>
            </a:extLst>
          </p:cNvPr>
          <p:cNvSpPr/>
          <p:nvPr/>
        </p:nvSpPr>
        <p:spPr>
          <a:xfrm>
            <a:off x="2085784" y="303302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36678E34-C42F-4272-A80C-040E642AF4BE}"/>
              </a:ext>
            </a:extLst>
          </p:cNvPr>
          <p:cNvSpPr/>
          <p:nvPr/>
        </p:nvSpPr>
        <p:spPr>
          <a:xfrm>
            <a:off x="2393745" y="303302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12996ED4-A971-4578-B5CD-3D91B7A50B7D}"/>
              </a:ext>
            </a:extLst>
          </p:cNvPr>
          <p:cNvSpPr/>
          <p:nvPr/>
        </p:nvSpPr>
        <p:spPr>
          <a:xfrm>
            <a:off x="1469859" y="303302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xmlns="" id="{F4FC888B-7FCA-46F6-B3EA-F5E5A44DE1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03568" y="250851"/>
            <a:ext cx="1025765" cy="301519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xmlns="" id="{3AF8591F-F851-4C72-BCB4-63E779F403D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8170626" y="213443"/>
            <a:ext cx="387695" cy="395497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7617DD60-ACC1-4B3D-9688-6C9FA0B2E896}"/>
              </a:ext>
            </a:extLst>
          </p:cNvPr>
          <p:cNvSpPr txBox="1"/>
          <p:nvPr/>
        </p:nvSpPr>
        <p:spPr>
          <a:xfrm>
            <a:off x="701944" y="563525"/>
            <a:ext cx="7383618" cy="3862596"/>
          </a:xfrm>
          <a:prstGeom prst="rect">
            <a:avLst/>
          </a:prstGeom>
          <a:solidFill>
            <a:srgbClr val="000000"/>
          </a:solidFill>
          <a:ln>
            <a:solidFill>
              <a:srgbClr val="FFFFFF"/>
            </a:solidFill>
          </a:ln>
        </p:spPr>
        <p:txBody>
          <a:bodyPr wrap="square" numCol="2" rtlCol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[</a:t>
            </a:r>
            <a:r>
              <a:rPr lang="en-US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root@dip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~]# /</a:t>
            </a:r>
            <a:r>
              <a:rPr lang="en-US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etc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/</a:t>
            </a:r>
            <a:r>
              <a:rPr lang="en-US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rc.d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/</a:t>
            </a:r>
            <a:r>
              <a:rPr lang="en-US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init.d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/network restart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Shutting down interface </a:t>
            </a:r>
            <a:r>
              <a:rPr lang="en-US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etho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: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[ OK ]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Shutting down loopback interface: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[ OK ]</a:t>
            </a:r>
            <a:endParaRPr lang="en-US" sz="1600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Bringing up loopback interface: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[ OK ]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Bringing up interface eth0: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[ OK ]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[</a:t>
            </a:r>
            <a:r>
              <a:rPr lang="en-US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root@dlp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~]# </a:t>
            </a:r>
            <a:r>
              <a:rPr lang="en-US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chkconfig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network on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[</a:t>
            </a:r>
            <a:r>
              <a:rPr lang="en-US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root@dip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~]# ifconfig</a:t>
            </a: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etho</a:t>
            </a:r>
            <a:endParaRPr lang="en-US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Link </a:t>
            </a:r>
            <a:r>
              <a:rPr lang="en-US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encap:Ethernet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HWaddr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00:0C:29:D8:7C:06</a:t>
            </a: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inet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addr:10.0.0.30 Bcast:10.0.0.255 Mask:255.255.255.0</a:t>
            </a: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inet6 </a:t>
            </a:r>
            <a:r>
              <a:rPr lang="en-US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addr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: fe80::20c:29ff:fed8:7c06/64 </a:t>
            </a:r>
            <a:r>
              <a:rPr lang="en-US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Scope:Link</a:t>
            </a:r>
            <a:endParaRPr lang="en-US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UP BROADCAST RUNNING MULTICAST MTU:1500 Metric:1 </a:t>
            </a: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RX packets:885 errors:0 dropped:0 overruns:0 frame:0 </a:t>
            </a: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TX packets:743 errors:0 dropped:0 overruns:0 carrier:0 collisions:0 txqueuelen:1000</a:t>
            </a: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RX bytes:83054 (81.1 KIB) TX bytes:113706 (111.0 KIB)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670257675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0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0FC3722-8F96-43A5-A133-2ADF5CE88875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xmlns="" id="{475343A4-333F-4558-9B30-BC15AAB1A318}"/>
              </a:ext>
            </a:extLst>
          </p:cNvPr>
          <p:cNvSpPr/>
          <p:nvPr/>
        </p:nvSpPr>
        <p:spPr>
          <a:xfrm>
            <a:off x="-50782" y="1"/>
            <a:ext cx="11302409" cy="519489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xmlns="" id="{925C2EED-F692-4F64-B5C8-DBB35B8EAE13}"/>
              </a:ext>
            </a:extLst>
          </p:cNvPr>
          <p:cNvSpPr/>
          <p:nvPr/>
        </p:nvSpPr>
        <p:spPr>
          <a:xfrm>
            <a:off x="-55546" y="66454"/>
            <a:ext cx="11251630" cy="507704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xmlns="" id="{BE6E1CF5-59DA-43AB-9866-0328CF12083B}"/>
              </a:ext>
            </a:extLst>
          </p:cNvPr>
          <p:cNvSpPr/>
          <p:nvPr/>
        </p:nvSpPr>
        <p:spPr>
          <a:xfrm>
            <a:off x="-3" y="127067"/>
            <a:ext cx="11111023" cy="4949979"/>
          </a:xfrm>
          <a:prstGeom prst="homePlat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xmlns="" id="{5386A08B-7D7F-47E3-92B0-DE14688643F9}"/>
              </a:ext>
            </a:extLst>
          </p:cNvPr>
          <p:cNvSpPr/>
          <p:nvPr/>
        </p:nvSpPr>
        <p:spPr>
          <a:xfrm>
            <a:off x="-74428" y="152763"/>
            <a:ext cx="11129905" cy="4889366"/>
          </a:xfrm>
          <a:prstGeom prst="homePlat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lang="en-US" dirty="0">
              <a:solidFill>
                <a:schemeClr val="accent4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lang="en-US" dirty="0">
              <a:solidFill>
                <a:schemeClr val="accent4"/>
              </a:solidFill>
              <a:latin typeface="Segoe UI Semibold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lang="en-US" dirty="0">
              <a:solidFill>
                <a:schemeClr val="accent4"/>
              </a:solidFill>
              <a:latin typeface="Segoe UI Semibold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lang="en-US" dirty="0">
              <a:solidFill>
                <a:schemeClr val="accent4"/>
              </a:solidFill>
              <a:latin typeface="Segoe UI Semibold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lang="en-US" dirty="0">
              <a:solidFill>
                <a:schemeClr val="accent4"/>
              </a:solidFill>
              <a:latin typeface="Segoe UI Semibold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lang="en-US" dirty="0">
              <a:solidFill>
                <a:schemeClr val="accent4"/>
              </a:solidFill>
              <a:latin typeface="Segoe UI Semibold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Segoe UI Semibold"/>
                <a:ea typeface="+mn-ea"/>
                <a:cs typeface="+mn-cs"/>
                <a:sym typeface="Arial"/>
              </a:rPr>
              <a:t>	</a:t>
            </a:r>
            <a:r>
              <a:rPr kumimoji="0" lang="km-KH" sz="1400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Segoe UI Semibold"/>
                <a:ea typeface="+mn-ea"/>
                <a:cs typeface="+mn-cs"/>
                <a:sym typeface="Arial"/>
              </a:rPr>
              <a:t>[2] បិទ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Segoe UI Semibold"/>
                <a:ea typeface="+mn-ea"/>
                <a:cs typeface="+mn-cs"/>
                <a:sym typeface="Arial"/>
              </a:rPr>
              <a:t>IPV6 </a:t>
            </a:r>
            <a:r>
              <a:rPr kumimoji="0" lang="km-KH" sz="1400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Segoe UI Semibold"/>
                <a:ea typeface="+mn-ea"/>
                <a:cs typeface="+mn-cs"/>
                <a:sym typeface="Arial"/>
              </a:rPr>
              <a:t>ចោលបើអ្នកមិនត្រូវការវា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1A6F54B5-0441-4560-B588-51F6748A10E7}"/>
              </a:ext>
            </a:extLst>
          </p:cNvPr>
          <p:cNvSpPr/>
          <p:nvPr/>
        </p:nvSpPr>
        <p:spPr>
          <a:xfrm>
            <a:off x="853933" y="303302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E76D8363-97F8-4D84-B055-4CAB5AF1B9B9}"/>
              </a:ext>
            </a:extLst>
          </p:cNvPr>
          <p:cNvSpPr/>
          <p:nvPr/>
        </p:nvSpPr>
        <p:spPr>
          <a:xfrm>
            <a:off x="1161896" y="303302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E1E5901C-75B9-4255-B79F-AFC39A71CB5A}"/>
              </a:ext>
            </a:extLst>
          </p:cNvPr>
          <p:cNvSpPr/>
          <p:nvPr/>
        </p:nvSpPr>
        <p:spPr>
          <a:xfrm>
            <a:off x="1777821" y="303302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5B68763A-C0FE-4288-99F2-5FD3D1D6259F}"/>
              </a:ext>
            </a:extLst>
          </p:cNvPr>
          <p:cNvSpPr/>
          <p:nvPr/>
        </p:nvSpPr>
        <p:spPr>
          <a:xfrm>
            <a:off x="2085784" y="303302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36678E34-C42F-4272-A80C-040E642AF4BE}"/>
              </a:ext>
            </a:extLst>
          </p:cNvPr>
          <p:cNvSpPr/>
          <p:nvPr/>
        </p:nvSpPr>
        <p:spPr>
          <a:xfrm>
            <a:off x="2393745" y="303302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12996ED4-A971-4578-B5CD-3D91B7A50B7D}"/>
              </a:ext>
            </a:extLst>
          </p:cNvPr>
          <p:cNvSpPr/>
          <p:nvPr/>
        </p:nvSpPr>
        <p:spPr>
          <a:xfrm>
            <a:off x="1469859" y="303302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xmlns="" id="{F4FC888B-7FCA-46F6-B3EA-F5E5A44DE1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03568" y="250851"/>
            <a:ext cx="1025765" cy="301519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xmlns="" id="{3AF8591F-F851-4C72-BCB4-63E779F403D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8170626" y="213443"/>
            <a:ext cx="387695" cy="395497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7617DD60-ACC1-4B3D-9688-6C9FA0B2E896}"/>
              </a:ext>
            </a:extLst>
          </p:cNvPr>
          <p:cNvSpPr txBox="1"/>
          <p:nvPr/>
        </p:nvSpPr>
        <p:spPr>
          <a:xfrm>
            <a:off x="853933" y="594108"/>
            <a:ext cx="6516926" cy="1815882"/>
          </a:xfrm>
          <a:prstGeom prst="rect">
            <a:avLst/>
          </a:prstGeom>
          <a:solidFill>
            <a:srgbClr val="000000"/>
          </a:solidFill>
          <a:ln>
            <a:solidFill>
              <a:srgbClr val="FFFFFF"/>
            </a:solidFill>
          </a:ln>
        </p:spPr>
        <p:txBody>
          <a:bodyPr wrap="square" numCol="1" rtlCol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lo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Link </a:t>
            </a:r>
            <a:r>
              <a:rPr lang="en-US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encap:Local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Loopback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inet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addr:127.0.0.1 Mask:255.0.0.0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inet6 </a:t>
            </a:r>
            <a:r>
              <a:rPr lang="en-US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addr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: ::1/128 </a:t>
            </a:r>
            <a:r>
              <a:rPr lang="en-US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Scope:Host</a:t>
            </a:r>
            <a:endParaRPr lang="en-US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UP LOOPBACK RUNNING MTU:16436 Metric:1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RX packets:0 errors:0 dropped:0 overruns:0 frame:0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TX packets:0 errors:0 dropped:0 overruns:0 carrier:0collisions:0 txqueuelen:0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RX bytes:0 (0.0 b) TX bytes:0 (0.0 b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E2DF9C67-888E-44FD-AB49-C8A979025D62}"/>
              </a:ext>
            </a:extLst>
          </p:cNvPr>
          <p:cNvSpPr txBox="1"/>
          <p:nvPr/>
        </p:nvSpPr>
        <p:spPr>
          <a:xfrm>
            <a:off x="853933" y="2798820"/>
            <a:ext cx="6516926" cy="2246769"/>
          </a:xfrm>
          <a:prstGeom prst="rect">
            <a:avLst/>
          </a:prstGeom>
          <a:solidFill>
            <a:srgbClr val="000000"/>
          </a:solidFill>
          <a:ln>
            <a:solidFill>
              <a:srgbClr val="FFFFFF"/>
            </a:solidFill>
          </a:ln>
        </p:spPr>
        <p:txBody>
          <a:bodyPr wrap="square" numCol="1" rtlCol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[</a:t>
            </a:r>
            <a:r>
              <a:rPr lang="en-US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root@dlp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~]# ifconfig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err="1">
                <a:solidFill>
                  <a:schemeClr val="accent4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etho</a:t>
            </a:r>
            <a:endParaRPr lang="en-US" dirty="0">
              <a:solidFill>
                <a:schemeClr val="accent4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Link </a:t>
            </a:r>
            <a:r>
              <a:rPr lang="en-US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encap:Ethernet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HWaddr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00:0C:29:D8:7C:06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inet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addr:10.0.0.30 </a:t>
            </a:r>
            <a:r>
              <a:rPr lang="en-US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Bcast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: 10.0.0.255 Mask:255.255.255.0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inet6 </a:t>
            </a:r>
            <a:r>
              <a:rPr lang="en-US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addr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: fe80::20c:29ff:fed8:7c06/64 </a:t>
            </a:r>
            <a:r>
              <a:rPr lang="en-US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Scope:Link</a:t>
            </a:r>
            <a:endParaRPr lang="en-US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UP BROADCAST RUNNING MULTICAST MTU:1500 Metric:1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RX packets: 885 errors:0 dropped:0 overruns:0 frame:0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TX packets: 743 errors:0 dropped:0 overruns:0 carrier:0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collisions:0 txqueuelen:1000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RX bytes:83054 (81.1 KiB) TX bytes:113706 (111.0 KIB)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40847235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4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0FC3722-8F96-43A5-A133-2ADF5CE88875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xmlns="" id="{475343A4-333F-4558-9B30-BC15AAB1A318}"/>
              </a:ext>
            </a:extLst>
          </p:cNvPr>
          <p:cNvSpPr/>
          <p:nvPr/>
        </p:nvSpPr>
        <p:spPr>
          <a:xfrm>
            <a:off x="-50782" y="1"/>
            <a:ext cx="11302409" cy="519489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xmlns="" id="{925C2EED-F692-4F64-B5C8-DBB35B8EAE13}"/>
              </a:ext>
            </a:extLst>
          </p:cNvPr>
          <p:cNvSpPr/>
          <p:nvPr/>
        </p:nvSpPr>
        <p:spPr>
          <a:xfrm>
            <a:off x="-55546" y="66454"/>
            <a:ext cx="11251630" cy="507704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xmlns="" id="{BE6E1CF5-59DA-43AB-9866-0328CF12083B}"/>
              </a:ext>
            </a:extLst>
          </p:cNvPr>
          <p:cNvSpPr/>
          <p:nvPr/>
        </p:nvSpPr>
        <p:spPr>
          <a:xfrm>
            <a:off x="-3" y="127067"/>
            <a:ext cx="11111023" cy="4949979"/>
          </a:xfrm>
          <a:prstGeom prst="homePlat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xmlns="" id="{5386A08B-7D7F-47E3-92B0-DE14688643F9}"/>
              </a:ext>
            </a:extLst>
          </p:cNvPr>
          <p:cNvSpPr/>
          <p:nvPr/>
        </p:nvSpPr>
        <p:spPr>
          <a:xfrm>
            <a:off x="-74428" y="152763"/>
            <a:ext cx="11129905" cy="4889366"/>
          </a:xfrm>
          <a:prstGeom prst="homePlat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1A6F54B5-0441-4560-B588-51F6748A10E7}"/>
              </a:ext>
            </a:extLst>
          </p:cNvPr>
          <p:cNvSpPr/>
          <p:nvPr/>
        </p:nvSpPr>
        <p:spPr>
          <a:xfrm>
            <a:off x="853933" y="303302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E76D8363-97F8-4D84-B055-4CAB5AF1B9B9}"/>
              </a:ext>
            </a:extLst>
          </p:cNvPr>
          <p:cNvSpPr/>
          <p:nvPr/>
        </p:nvSpPr>
        <p:spPr>
          <a:xfrm>
            <a:off x="1161896" y="303302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E1E5901C-75B9-4255-B79F-AFC39A71CB5A}"/>
              </a:ext>
            </a:extLst>
          </p:cNvPr>
          <p:cNvSpPr/>
          <p:nvPr/>
        </p:nvSpPr>
        <p:spPr>
          <a:xfrm>
            <a:off x="1777821" y="303302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5B68763A-C0FE-4288-99F2-5FD3D1D6259F}"/>
              </a:ext>
            </a:extLst>
          </p:cNvPr>
          <p:cNvSpPr/>
          <p:nvPr/>
        </p:nvSpPr>
        <p:spPr>
          <a:xfrm>
            <a:off x="2085784" y="303302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36678E34-C42F-4272-A80C-040E642AF4BE}"/>
              </a:ext>
            </a:extLst>
          </p:cNvPr>
          <p:cNvSpPr/>
          <p:nvPr/>
        </p:nvSpPr>
        <p:spPr>
          <a:xfrm>
            <a:off x="2393745" y="303302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12996ED4-A971-4578-B5CD-3D91B7A50B7D}"/>
              </a:ext>
            </a:extLst>
          </p:cNvPr>
          <p:cNvSpPr/>
          <p:nvPr/>
        </p:nvSpPr>
        <p:spPr>
          <a:xfrm>
            <a:off x="1469859" y="303302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xmlns="" id="{F4FC888B-7FCA-46F6-B3EA-F5E5A44DE1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03568" y="250851"/>
            <a:ext cx="1025765" cy="301519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xmlns="" id="{3AF8591F-F851-4C72-BCB4-63E779F403D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8170626" y="213443"/>
            <a:ext cx="387695" cy="395497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7617DD60-ACC1-4B3D-9688-6C9FA0B2E896}"/>
              </a:ext>
            </a:extLst>
          </p:cNvPr>
          <p:cNvSpPr txBox="1"/>
          <p:nvPr/>
        </p:nvSpPr>
        <p:spPr>
          <a:xfrm>
            <a:off x="334060" y="913608"/>
            <a:ext cx="8224261" cy="3539430"/>
          </a:xfrm>
          <a:prstGeom prst="rect">
            <a:avLst/>
          </a:prstGeom>
          <a:solidFill>
            <a:srgbClr val="000000"/>
          </a:solidFill>
          <a:ln>
            <a:solidFill>
              <a:srgbClr val="FFFFFF"/>
            </a:solidFill>
          </a:ln>
        </p:spPr>
        <p:txBody>
          <a:bodyPr wrap="square" numCol="2" rtlCol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accent4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lo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Link </a:t>
            </a:r>
            <a:r>
              <a:rPr lang="en-US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encap:Local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Loopback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inet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addr:127.0.0.1 Mask:255.0.0.0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inet6 </a:t>
            </a:r>
            <a:r>
              <a:rPr lang="en-US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addr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: ::1/128 </a:t>
            </a:r>
            <a:r>
              <a:rPr lang="en-US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Scope:Host</a:t>
            </a:r>
            <a:endParaRPr lang="en-US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UP LOOPBACK RUNNING MTU:16436 Metric:1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RX packets:0 errors:0 dropped:0 overruns:0 frame:0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TX packets:0 errors:0 dropped:0 overruns:0 carrier:0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collisions:0 txqueuelen:0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RX bytes:0 (0.0 B) TX bytes:0 (0.0 b)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accent4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[</a:t>
            </a:r>
            <a:r>
              <a:rPr lang="en-US" dirty="0" err="1">
                <a:solidFill>
                  <a:schemeClr val="accent4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root@dip</a:t>
            </a:r>
            <a:r>
              <a:rPr lang="en-US" dirty="0">
                <a:solidFill>
                  <a:schemeClr val="accent4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~]# vi /</a:t>
            </a:r>
            <a:r>
              <a:rPr lang="en-US" dirty="0" err="1">
                <a:solidFill>
                  <a:schemeClr val="accent4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etc</a:t>
            </a:r>
            <a:r>
              <a:rPr lang="en-US" dirty="0">
                <a:solidFill>
                  <a:schemeClr val="accent4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/</a:t>
            </a:r>
            <a:r>
              <a:rPr lang="en-US" dirty="0" err="1">
                <a:solidFill>
                  <a:schemeClr val="accent4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sysctl.conf</a:t>
            </a:r>
            <a:endParaRPr lang="en-US" dirty="0">
              <a:solidFill>
                <a:schemeClr val="accent4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#add follows to the end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net.ipv6.conf.all.disable_ipv6 = 1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net.ipv6.conf.default.disable_ipv6 = 1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#apply new settings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[</a:t>
            </a:r>
            <a:r>
              <a:rPr lang="en-US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root@dip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~]# </a:t>
            </a:r>
            <a:r>
              <a:rPr lang="en-US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sysctl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-p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[</a:t>
            </a:r>
            <a:r>
              <a:rPr lang="en-US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root@dip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~]# ifconfig</a:t>
            </a:r>
            <a:endParaRPr lang="en-US" dirty="0">
              <a:solidFill>
                <a:schemeClr val="accent4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accent4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eth0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Link </a:t>
            </a:r>
            <a:r>
              <a:rPr lang="en-US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encap:Ethernet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HWaddr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00:00:29:08:7C:06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inet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addr:10.0.0.30 Bcast:10.0.0.255 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Mask:255.255.255.0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UP BROADCAST RUNNING MULTICAST MTU:1500 Metric:1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RX packets:885 errors:0 dropped:0 overruns:0 frame:0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TX packets:743 errors:0 dropped:0 overruns:0 carrier:0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collisions:0 txqueuelen:1000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RX bytes:83054 (81.1 KiB) TX bytes:113706 (111.0 KIB)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18240473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1" end="2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3" end="2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4" end="2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5" end="2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8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0FC3722-8F96-43A5-A133-2ADF5CE88875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xmlns="" id="{475343A4-333F-4558-9B30-BC15AAB1A318}"/>
              </a:ext>
            </a:extLst>
          </p:cNvPr>
          <p:cNvSpPr/>
          <p:nvPr/>
        </p:nvSpPr>
        <p:spPr>
          <a:xfrm>
            <a:off x="-50782" y="1"/>
            <a:ext cx="11302409" cy="519489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xmlns="" id="{925C2EED-F692-4F64-B5C8-DBB35B8EAE13}"/>
              </a:ext>
            </a:extLst>
          </p:cNvPr>
          <p:cNvSpPr/>
          <p:nvPr/>
        </p:nvSpPr>
        <p:spPr>
          <a:xfrm>
            <a:off x="-55546" y="66454"/>
            <a:ext cx="11251630" cy="507704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xmlns="" id="{BE6E1CF5-59DA-43AB-9866-0328CF12083B}"/>
              </a:ext>
            </a:extLst>
          </p:cNvPr>
          <p:cNvSpPr/>
          <p:nvPr/>
        </p:nvSpPr>
        <p:spPr>
          <a:xfrm>
            <a:off x="-3" y="127067"/>
            <a:ext cx="11111023" cy="4949979"/>
          </a:xfrm>
          <a:prstGeom prst="homePlat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xmlns="" id="{5386A08B-7D7F-47E3-92B0-DE14688643F9}"/>
              </a:ext>
            </a:extLst>
          </p:cNvPr>
          <p:cNvSpPr/>
          <p:nvPr/>
        </p:nvSpPr>
        <p:spPr>
          <a:xfrm>
            <a:off x="-74428" y="152763"/>
            <a:ext cx="11129905" cy="4889366"/>
          </a:xfrm>
          <a:prstGeom prst="homePlat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1A6F54B5-0441-4560-B588-51F6748A10E7}"/>
              </a:ext>
            </a:extLst>
          </p:cNvPr>
          <p:cNvSpPr/>
          <p:nvPr/>
        </p:nvSpPr>
        <p:spPr>
          <a:xfrm>
            <a:off x="853933" y="303302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E76D8363-97F8-4D84-B055-4CAB5AF1B9B9}"/>
              </a:ext>
            </a:extLst>
          </p:cNvPr>
          <p:cNvSpPr/>
          <p:nvPr/>
        </p:nvSpPr>
        <p:spPr>
          <a:xfrm>
            <a:off x="1161896" y="303302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E1E5901C-75B9-4255-B79F-AFC39A71CB5A}"/>
              </a:ext>
            </a:extLst>
          </p:cNvPr>
          <p:cNvSpPr/>
          <p:nvPr/>
        </p:nvSpPr>
        <p:spPr>
          <a:xfrm>
            <a:off x="1777821" y="303302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5B68763A-C0FE-4288-99F2-5FD3D1D6259F}"/>
              </a:ext>
            </a:extLst>
          </p:cNvPr>
          <p:cNvSpPr/>
          <p:nvPr/>
        </p:nvSpPr>
        <p:spPr>
          <a:xfrm>
            <a:off x="2085784" y="303302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36678E34-C42F-4272-A80C-040E642AF4BE}"/>
              </a:ext>
            </a:extLst>
          </p:cNvPr>
          <p:cNvSpPr/>
          <p:nvPr/>
        </p:nvSpPr>
        <p:spPr>
          <a:xfrm>
            <a:off x="2393745" y="303302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12996ED4-A971-4578-B5CD-3D91B7A50B7D}"/>
              </a:ext>
            </a:extLst>
          </p:cNvPr>
          <p:cNvSpPr/>
          <p:nvPr/>
        </p:nvSpPr>
        <p:spPr>
          <a:xfrm>
            <a:off x="1469859" y="303302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xmlns="" id="{F4FC888B-7FCA-46F6-B3EA-F5E5A44DE1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03568" y="250851"/>
            <a:ext cx="1025765" cy="301519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xmlns="" id="{3AF8591F-F851-4C72-BCB4-63E779F403D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8170626" y="213443"/>
            <a:ext cx="387695" cy="395497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7617DD60-ACC1-4B3D-9688-6C9FA0B2E896}"/>
              </a:ext>
            </a:extLst>
          </p:cNvPr>
          <p:cNvSpPr txBox="1"/>
          <p:nvPr/>
        </p:nvSpPr>
        <p:spPr>
          <a:xfrm>
            <a:off x="853933" y="1557664"/>
            <a:ext cx="7595273" cy="1815882"/>
          </a:xfrm>
          <a:prstGeom prst="rect">
            <a:avLst/>
          </a:prstGeom>
          <a:solidFill>
            <a:srgbClr val="000000"/>
          </a:solidFill>
          <a:ln>
            <a:solidFill>
              <a:srgbClr val="FFFFFF"/>
            </a:solidFill>
          </a:ln>
        </p:spPr>
        <p:txBody>
          <a:bodyPr wrap="square" numCol="1" rtlCol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accent4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lo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Link </a:t>
            </a:r>
            <a:r>
              <a:rPr lang="en-US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encap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: Local Loopback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Inet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addr:127.0.0.1 Mask:255.0.0.0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UP LOOPBACK RUNNING MTU:16436 Metric:1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RX packets:0 errors:0 dropped:0 overruns:0 frame:0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TX packets:0 errors:0 dropped:0 overruns:0 carrier:0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collisions:0 txqueuelen:0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RX bytes:0 (0.0 b) TX bytes:0 (0.0 b)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054879822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983EDB11-5B99-4F09-9BC7-D746870E1C4E}"/>
              </a:ext>
            </a:extLst>
          </p:cNvPr>
          <p:cNvSpPr/>
          <p:nvPr/>
        </p:nvSpPr>
        <p:spPr>
          <a:xfrm>
            <a:off x="874767" y="1533036"/>
            <a:ext cx="3129771" cy="166574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tIns="54864" rIns="54864" bIns="54864" numCol="1" rtlCol="0" anchor="ctr"/>
          <a:lstStyle/>
          <a:p>
            <a:pPr algn="ctr" defTabSz="685800">
              <a:lnSpc>
                <a:spcPct val="150000"/>
              </a:lnSpc>
              <a:buClrTx/>
            </a:pPr>
            <a:r>
              <a:rPr lang="en-US" sz="14925" dirty="0">
                <a:solidFill>
                  <a:schemeClr val="accent6">
                    <a:lumMod val="20000"/>
                    <a:lumOff val="80000"/>
                  </a:schemeClr>
                </a:solidFill>
                <a:latin typeface="សម្រាប់កូនខ្មែរ" panose="02000500000000020004" pitchFamily="2" charset="0"/>
                <a:cs typeface="សម្រាប់កូនខ្មែរ" panose="02000500000000020004" pitchFamily="2" charset="0"/>
              </a:rPr>
              <a:t>5.4</a:t>
            </a:r>
            <a:endParaRPr lang="en-US" sz="750" dirty="0">
              <a:solidFill>
                <a:schemeClr val="accent6">
                  <a:lumMod val="20000"/>
                  <a:lumOff val="80000"/>
                </a:schemeClr>
              </a:solidFill>
              <a:latin typeface="សម្រាប់កូនខ្មែរ" panose="02000500000000020004" pitchFamily="2" charset="0"/>
              <a:cs typeface="សម្រាប់កូនខ្មែរ" panose="02000500000000020004" pitchFamily="2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CA0D9CDC-ABFA-43C8-8F37-F5B8682C8A96}"/>
              </a:ext>
            </a:extLst>
          </p:cNvPr>
          <p:cNvSpPr/>
          <p:nvPr/>
        </p:nvSpPr>
        <p:spPr>
          <a:xfrm>
            <a:off x="4025398" y="1478151"/>
            <a:ext cx="4143126" cy="19485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 defTabSz="685800">
              <a:buClrTx/>
            </a:pPr>
            <a:endParaRPr lang="de-DE" altLang="de-DE" sz="1350" kern="1200">
              <a:solidFill>
                <a:srgbClr val="F5F6FA"/>
              </a:solidFill>
              <a:latin typeface="Segoe UI Semibold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72BA5E31-8C76-4878-8E9A-40C31B4AFA64}"/>
              </a:ext>
            </a:extLst>
          </p:cNvPr>
          <p:cNvSpPr/>
          <p:nvPr/>
        </p:nvSpPr>
        <p:spPr>
          <a:xfrm>
            <a:off x="4125685" y="1222218"/>
            <a:ext cx="5018315" cy="26990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 defTabSz="685800">
              <a:buClrTx/>
            </a:pPr>
            <a:endParaRPr lang="de-DE" altLang="de-DE" sz="1350" kern="1200">
              <a:solidFill>
                <a:srgbClr val="F5F6FA"/>
              </a:solidFill>
              <a:latin typeface="Segoe UI Semibold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33CFFF82-1DE1-4847-A9A2-AA670A313F9F}"/>
              </a:ext>
            </a:extLst>
          </p:cNvPr>
          <p:cNvSpPr txBox="1"/>
          <p:nvPr/>
        </p:nvSpPr>
        <p:spPr>
          <a:xfrm>
            <a:off x="4401801" y="1603158"/>
            <a:ext cx="1261564" cy="738664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pPr lvl="0" algn="ctr"/>
            <a:r>
              <a:rPr lang="km-KH" altLang="de-DE" sz="4800" dirty="0">
                <a:solidFill>
                  <a:srgbClr val="FF560D"/>
                </a:solidFill>
                <a:latin typeface="Khmer Moul" panose="02060603050605020204" pitchFamily="18" charset="0"/>
                <a:cs typeface="MoolBoran" panose="020B0100010101010101" pitchFamily="34" charset="0"/>
              </a:rPr>
              <a:t>ជំពូកទី</a:t>
            </a:r>
            <a:r>
              <a:rPr lang="en-US" altLang="de-DE" sz="3600" dirty="0">
                <a:solidFill>
                  <a:srgbClr val="FF560D"/>
                </a:solidFill>
                <a:latin typeface="Khmer Moul" panose="02060603050605020204" pitchFamily="18" charset="0"/>
              </a:rPr>
              <a:t>5</a:t>
            </a:r>
            <a:endParaRPr lang="de-DE" altLang="de-DE" sz="4800" dirty="0">
              <a:solidFill>
                <a:srgbClr val="FF560D"/>
              </a:solidFill>
              <a:latin typeface="Khmer Moul" panose="02060603050605020204" pitchFamily="18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0681B20C-C864-4359-BC1C-DFEC6BA765B5}"/>
              </a:ext>
            </a:extLst>
          </p:cNvPr>
          <p:cNvSpPr txBox="1"/>
          <p:nvPr/>
        </p:nvSpPr>
        <p:spPr>
          <a:xfrm>
            <a:off x="4401801" y="2571750"/>
            <a:ext cx="4233678" cy="369332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defTabSz="685800">
              <a:buClrTx/>
            </a:pPr>
            <a:r>
              <a:rPr lang="km-KH" altLang="de-DE" sz="2400" b="1" kern="1200" dirty="0">
                <a:solidFill>
                  <a:srgbClr val="7F8FA1"/>
                </a:solidFill>
                <a:latin typeface="Ang DaunKeo" panose="020B0503020102020204" pitchFamily="34" charset="0"/>
                <a:ea typeface="+mn-ea"/>
                <a:cs typeface="Ang DaunKeo" panose="020B0503020102020204" pitchFamily="34" charset="0"/>
              </a:rPr>
              <a:t>ការគ្រប់គ្រងលើ </a:t>
            </a:r>
            <a:r>
              <a:rPr lang="en-US" altLang="de-DE" sz="2400" b="1" kern="1200" dirty="0">
                <a:solidFill>
                  <a:srgbClr val="7F8FA1"/>
                </a:solidFill>
                <a:latin typeface="Ang DaunKeo" panose="020B0503020102020204" pitchFamily="34" charset="0"/>
                <a:ea typeface="+mn-ea"/>
                <a:cs typeface="Ang DaunKeo" panose="020B0503020102020204" pitchFamily="34" charset="0"/>
              </a:rPr>
              <a:t>Services</a:t>
            </a:r>
            <a:endParaRPr lang="de-DE" altLang="de-DE" sz="2400" kern="1200" dirty="0">
              <a:solidFill>
                <a:srgbClr val="7F8FA1"/>
              </a:solidFill>
              <a:latin typeface="Segoe UI Semibold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0FC3722-8F96-43A5-A133-2ADF5CE88875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3BC02E82-8C3C-4228-B4D2-04789753E573}"/>
              </a:ext>
            </a:extLst>
          </p:cNvPr>
          <p:cNvSpPr/>
          <p:nvPr/>
        </p:nvSpPr>
        <p:spPr>
          <a:xfrm>
            <a:off x="6861336" y="196976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6CC8AA03-3686-47A6-BB97-7708AA1C2218}"/>
              </a:ext>
            </a:extLst>
          </p:cNvPr>
          <p:cNvSpPr/>
          <p:nvPr/>
        </p:nvSpPr>
        <p:spPr>
          <a:xfrm>
            <a:off x="7169299" y="196976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F305CB88-6F57-4590-8850-A9497397856F}"/>
              </a:ext>
            </a:extLst>
          </p:cNvPr>
          <p:cNvSpPr/>
          <p:nvPr/>
        </p:nvSpPr>
        <p:spPr>
          <a:xfrm>
            <a:off x="7785224" y="196976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FE723CE1-A069-4DF6-973C-66E6B57D4A16}"/>
              </a:ext>
            </a:extLst>
          </p:cNvPr>
          <p:cNvSpPr/>
          <p:nvPr/>
        </p:nvSpPr>
        <p:spPr>
          <a:xfrm>
            <a:off x="8093187" y="196976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EA344343-A886-4022-837A-0F1C6BAA12EF}"/>
              </a:ext>
            </a:extLst>
          </p:cNvPr>
          <p:cNvSpPr/>
          <p:nvPr/>
        </p:nvSpPr>
        <p:spPr>
          <a:xfrm>
            <a:off x="8401148" y="196976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E45DBBC5-3B33-4D65-A1AC-B5BB39F16964}"/>
              </a:ext>
            </a:extLst>
          </p:cNvPr>
          <p:cNvSpPr/>
          <p:nvPr/>
        </p:nvSpPr>
        <p:spPr>
          <a:xfrm>
            <a:off x="7477262" y="196976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xmlns="" id="{E7867AC0-2512-4BFA-B895-C64129FB7AE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0330" y="144525"/>
            <a:ext cx="1025765" cy="301519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xmlns="" id="{B1B469A6-25B2-4F81-981C-6BF331182DA8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1897388" y="107117"/>
            <a:ext cx="387695" cy="395497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36244655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2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2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9" grpId="0"/>
      <p:bldP spid="20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2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983EDB11-5B99-4F09-9BC7-D746870E1C4E}"/>
              </a:ext>
            </a:extLst>
          </p:cNvPr>
          <p:cNvSpPr/>
          <p:nvPr/>
        </p:nvSpPr>
        <p:spPr>
          <a:xfrm>
            <a:off x="874767" y="1533036"/>
            <a:ext cx="3129771" cy="166574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tIns="54864" rIns="54864" bIns="54864" numCol="1" rtlCol="0" anchor="ctr"/>
          <a:lstStyle/>
          <a:p>
            <a:pPr marL="0" marR="0" lvl="0" indent="0" algn="ctr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925" b="0" i="0" u="none" strike="noStrike" kern="0" cap="none" spc="0" normalizeH="0" baseline="0" noProof="0" dirty="0">
                <a:ln>
                  <a:noFill/>
                </a:ln>
                <a:solidFill>
                  <a:srgbClr val="273C75">
                    <a:lumMod val="20000"/>
                    <a:lumOff val="80000"/>
                  </a:srgbClr>
                </a:solidFill>
                <a:effectLst/>
                <a:uLnTx/>
                <a:uFillTx/>
                <a:latin typeface="សម្រាប់កូនខ្មែរ" panose="02000500000000020004" pitchFamily="2" charset="0"/>
                <a:ea typeface="+mn-ea"/>
                <a:cs typeface="សម្រាប់កូនខ្មែរ" panose="02000500000000020004" pitchFamily="2" charset="0"/>
                <a:sym typeface="Arial"/>
              </a:rPr>
              <a:t>1.2</a:t>
            </a:r>
            <a:endParaRPr kumimoji="0" lang="en-US" sz="750" b="0" i="0" u="none" strike="noStrike" kern="0" cap="none" spc="0" normalizeH="0" baseline="0" noProof="0" dirty="0">
              <a:ln>
                <a:noFill/>
              </a:ln>
              <a:solidFill>
                <a:srgbClr val="273C75">
                  <a:lumMod val="20000"/>
                  <a:lumOff val="80000"/>
                </a:srgbClr>
              </a:solidFill>
              <a:effectLst/>
              <a:uLnTx/>
              <a:uFillTx/>
              <a:latin typeface="សម្រាប់កូនខ្មែរ" panose="02000500000000020004" pitchFamily="2" charset="0"/>
              <a:ea typeface="+mn-ea"/>
              <a:cs typeface="សម្រាប់កូនខ្មែរ" panose="02000500000000020004" pitchFamily="2" charset="0"/>
              <a:sym typeface="Arial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CA0D9CDC-ABFA-43C8-8F37-F5B8682C8A96}"/>
              </a:ext>
            </a:extLst>
          </p:cNvPr>
          <p:cNvSpPr/>
          <p:nvPr/>
        </p:nvSpPr>
        <p:spPr>
          <a:xfrm>
            <a:off x="4025398" y="1478151"/>
            <a:ext cx="4143126" cy="19485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altLang="de-DE" sz="1350" b="0" i="0" u="none" strike="noStrike" kern="120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72BA5E31-8C76-4878-8E9A-40C31B4AFA64}"/>
              </a:ext>
            </a:extLst>
          </p:cNvPr>
          <p:cNvSpPr/>
          <p:nvPr/>
        </p:nvSpPr>
        <p:spPr>
          <a:xfrm>
            <a:off x="4125685" y="1222218"/>
            <a:ext cx="5018315" cy="26990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altLang="de-DE" sz="1350" b="0" i="0" u="none" strike="noStrike" kern="120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33CFFF82-1DE1-4847-A9A2-AA670A313F9F}"/>
              </a:ext>
            </a:extLst>
          </p:cNvPr>
          <p:cNvSpPr txBox="1"/>
          <p:nvPr/>
        </p:nvSpPr>
        <p:spPr>
          <a:xfrm>
            <a:off x="4401801" y="1603158"/>
            <a:ext cx="1261564" cy="738664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km-KH" altLang="de-DE" sz="4800" b="0" i="0" u="none" strike="noStrike" kern="0" cap="none" spc="0" normalizeH="0" baseline="0" noProof="0" dirty="0">
                <a:ln>
                  <a:noFill/>
                </a:ln>
                <a:solidFill>
                  <a:srgbClr val="FF560D"/>
                </a:solidFill>
                <a:effectLst/>
                <a:uLnTx/>
                <a:uFillTx/>
                <a:latin typeface="Khmer Moul" panose="02060603050605020204" pitchFamily="18" charset="0"/>
                <a:cs typeface="MoolBoran" panose="020B0100010101010101" pitchFamily="34" charset="0"/>
                <a:sym typeface="Arial"/>
              </a:rPr>
              <a:t>ជំពូកទី</a:t>
            </a:r>
            <a:r>
              <a:rPr kumimoji="0" lang="en-US" altLang="de-DE" sz="3600" b="0" i="0" u="none" strike="noStrike" kern="0" cap="none" spc="0" normalizeH="0" baseline="0" noProof="0" dirty="0">
                <a:ln>
                  <a:noFill/>
                </a:ln>
                <a:solidFill>
                  <a:srgbClr val="FF560D"/>
                </a:solidFill>
                <a:effectLst/>
                <a:uLnTx/>
                <a:uFillTx/>
                <a:latin typeface="Khmer Moul" panose="02060603050605020204" pitchFamily="18" charset="0"/>
                <a:cs typeface="Arial"/>
                <a:sym typeface="Arial"/>
              </a:rPr>
              <a:t>7</a:t>
            </a:r>
            <a:endParaRPr kumimoji="0" lang="de-DE" altLang="de-DE" sz="4800" b="0" i="0" u="none" strike="noStrike" kern="0" cap="none" spc="0" normalizeH="0" baseline="0" noProof="0" dirty="0">
              <a:ln>
                <a:noFill/>
              </a:ln>
              <a:solidFill>
                <a:srgbClr val="FF560D"/>
              </a:solidFill>
              <a:effectLst/>
              <a:uLnTx/>
              <a:uFillTx/>
              <a:latin typeface="Khmer Moul" panose="02060603050605020204" pitchFamily="18" charset="0"/>
              <a:cs typeface="Arial"/>
              <a:sym typeface="Arial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0681B20C-C864-4359-BC1C-DFEC6BA765B5}"/>
              </a:ext>
            </a:extLst>
          </p:cNvPr>
          <p:cNvSpPr txBox="1"/>
          <p:nvPr/>
        </p:nvSpPr>
        <p:spPr>
          <a:xfrm>
            <a:off x="4401801" y="2432347"/>
            <a:ext cx="4233678" cy="738664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lvl="0" defTabSz="685800">
              <a:buClrTx/>
            </a:pPr>
            <a:r>
              <a:rPr lang="km-KH" altLang="de-DE" sz="2400" b="1" kern="1200" dirty="0">
                <a:solidFill>
                  <a:srgbClr val="7F8FA1"/>
                </a:solidFill>
                <a:latin typeface="Ang DaunKeo" panose="020B0503020102020204" pitchFamily="34" charset="0"/>
                <a:ea typeface="+mn-ea"/>
                <a:cs typeface="Ang DaunKeo" panose="020B0503020102020204" pitchFamily="34" charset="0"/>
              </a:rPr>
              <a:t>កំណត់ </a:t>
            </a:r>
            <a:r>
              <a:rPr lang="en-US" altLang="de-DE" sz="2400" b="1" kern="1200" dirty="0">
                <a:solidFill>
                  <a:srgbClr val="7F8FA1"/>
                </a:solidFill>
                <a:latin typeface="Ang DaunKeo" panose="020B0503020102020204" pitchFamily="34" charset="0"/>
                <a:ea typeface="+mn-ea"/>
                <a:cs typeface="Ang DaunKeo" panose="020B0503020102020204" pitchFamily="34" charset="0"/>
              </a:rPr>
              <a:t>Static IP address </a:t>
            </a:r>
            <a:r>
              <a:rPr lang="km-KH" altLang="de-DE" sz="2400" b="1" kern="1200" dirty="0">
                <a:solidFill>
                  <a:srgbClr val="7F8FA1"/>
                </a:solidFill>
                <a:latin typeface="Ang DaunKeo" panose="020B0503020102020204" pitchFamily="34" charset="0"/>
                <a:ea typeface="+mn-ea"/>
                <a:cs typeface="Ang DaunKeo" panose="020B0503020102020204" pitchFamily="34" charset="0"/>
              </a:rPr>
              <a:t>ឲ្យ​ </a:t>
            </a:r>
            <a:r>
              <a:rPr lang="en-US" altLang="de-DE" sz="2400" b="1" kern="1200" dirty="0">
                <a:solidFill>
                  <a:srgbClr val="7F8FA1"/>
                </a:solidFill>
                <a:latin typeface="Ang DaunKeo" panose="020B0503020102020204" pitchFamily="34" charset="0"/>
                <a:ea typeface="+mn-ea"/>
                <a:cs typeface="Ang DaunKeo" panose="020B0503020102020204" pitchFamily="34" charset="0"/>
              </a:rPr>
              <a:t>Server </a:t>
            </a:r>
            <a:r>
              <a:rPr lang="km-KH" altLang="de-DE" sz="2400" b="1" kern="1200" dirty="0">
                <a:solidFill>
                  <a:srgbClr val="7F8FA1"/>
                </a:solidFill>
                <a:latin typeface="Ang DaunKeo" panose="020B0503020102020204" pitchFamily="34" charset="0"/>
                <a:ea typeface="+mn-ea"/>
                <a:cs typeface="Ang DaunKeo" panose="020B0503020102020204" pitchFamily="34" charset="0"/>
              </a:rPr>
              <a:t>ដោយប្រើ </a:t>
            </a:r>
            <a:r>
              <a:rPr lang="en-US" altLang="de-DE" sz="2400" b="1" kern="1200" dirty="0">
                <a:solidFill>
                  <a:srgbClr val="7F8FA1"/>
                </a:solidFill>
                <a:latin typeface="Ang DaunKeo" panose="020B0503020102020204" pitchFamily="34" charset="0"/>
                <a:ea typeface="+mn-ea"/>
                <a:cs typeface="Ang DaunKeo" panose="020B0503020102020204" pitchFamily="34" charset="0"/>
              </a:rPr>
              <a:t>text file</a:t>
            </a:r>
            <a:endParaRPr kumimoji="0" lang="de-DE" altLang="de-DE" sz="2400" b="0" i="0" u="none" strike="noStrike" kern="1200" cap="none" spc="0" normalizeH="0" baseline="0" noProof="0" dirty="0">
              <a:ln>
                <a:noFill/>
              </a:ln>
              <a:solidFill>
                <a:srgbClr val="7F8FA1"/>
              </a:solidFill>
              <a:effectLst/>
              <a:uLnTx/>
              <a:uFillTx/>
              <a:latin typeface="Segoe UI Semibold"/>
              <a:ea typeface="+mn-ea"/>
              <a:cs typeface="Arial"/>
              <a:sym typeface="Arial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53214898-5FE3-456F-9669-D02A811D054D}"/>
              </a:ext>
            </a:extLst>
          </p:cNvPr>
          <p:cNvSpPr/>
          <p:nvPr/>
        </p:nvSpPr>
        <p:spPr>
          <a:xfrm>
            <a:off x="7612912" y="159488"/>
            <a:ext cx="1297172" cy="824075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7070B761-BA99-4BE9-B93C-BB50D3CF9945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1E764696-5198-44F6-AB03-0FADF6D859C5}"/>
              </a:ext>
            </a:extLst>
          </p:cNvPr>
          <p:cNvSpPr/>
          <p:nvPr/>
        </p:nvSpPr>
        <p:spPr>
          <a:xfrm>
            <a:off x="6861336" y="196976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AF32E3A1-476D-4259-8EA6-F2AC5C127851}"/>
              </a:ext>
            </a:extLst>
          </p:cNvPr>
          <p:cNvSpPr/>
          <p:nvPr/>
        </p:nvSpPr>
        <p:spPr>
          <a:xfrm>
            <a:off x="7169299" y="196976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23FCC499-D0A6-4FA0-BDF7-2B3E166E93FA}"/>
              </a:ext>
            </a:extLst>
          </p:cNvPr>
          <p:cNvSpPr/>
          <p:nvPr/>
        </p:nvSpPr>
        <p:spPr>
          <a:xfrm>
            <a:off x="7785224" y="196976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C74BAFB8-DA71-4031-B49A-9E556AEFBEE1}"/>
              </a:ext>
            </a:extLst>
          </p:cNvPr>
          <p:cNvSpPr/>
          <p:nvPr/>
        </p:nvSpPr>
        <p:spPr>
          <a:xfrm>
            <a:off x="8093187" y="196976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EF02095F-53B8-485C-BB55-580432D774FE}"/>
              </a:ext>
            </a:extLst>
          </p:cNvPr>
          <p:cNvSpPr/>
          <p:nvPr/>
        </p:nvSpPr>
        <p:spPr>
          <a:xfrm>
            <a:off x="8401148" y="196976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9342E382-03F3-40B6-AB3F-26FC2F83C265}"/>
              </a:ext>
            </a:extLst>
          </p:cNvPr>
          <p:cNvSpPr/>
          <p:nvPr/>
        </p:nvSpPr>
        <p:spPr>
          <a:xfrm>
            <a:off x="7477262" y="196976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1F5AE460-9409-4D06-A671-AFC5BDCDA8C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0330" y="144525"/>
            <a:ext cx="1025765" cy="30151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xmlns="" id="{A216EBAB-375B-4756-9519-3C4C6F69C79F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1897388" y="107117"/>
            <a:ext cx="387695" cy="395497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04454482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2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2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9" grpId="0"/>
      <p:bldP spid="20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6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0FC3722-8F96-43A5-A133-2ADF5CE88875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xmlns="" id="{475343A4-333F-4558-9B30-BC15AAB1A318}"/>
              </a:ext>
            </a:extLst>
          </p:cNvPr>
          <p:cNvSpPr/>
          <p:nvPr/>
        </p:nvSpPr>
        <p:spPr>
          <a:xfrm>
            <a:off x="-50782" y="1"/>
            <a:ext cx="11302409" cy="519489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xmlns="" id="{925C2EED-F692-4F64-B5C8-DBB35B8EAE13}"/>
              </a:ext>
            </a:extLst>
          </p:cNvPr>
          <p:cNvSpPr/>
          <p:nvPr/>
        </p:nvSpPr>
        <p:spPr>
          <a:xfrm>
            <a:off x="-55546" y="66454"/>
            <a:ext cx="11251630" cy="507704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xmlns="" id="{BE6E1CF5-59DA-43AB-9866-0328CF12083B}"/>
              </a:ext>
            </a:extLst>
          </p:cNvPr>
          <p:cNvSpPr/>
          <p:nvPr/>
        </p:nvSpPr>
        <p:spPr>
          <a:xfrm>
            <a:off x="-3" y="127067"/>
            <a:ext cx="11111023" cy="4949979"/>
          </a:xfrm>
          <a:prstGeom prst="homePlat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xmlns="" id="{5386A08B-7D7F-47E3-92B0-DE14688643F9}"/>
              </a:ext>
            </a:extLst>
          </p:cNvPr>
          <p:cNvSpPr/>
          <p:nvPr/>
        </p:nvSpPr>
        <p:spPr>
          <a:xfrm>
            <a:off x="-74428" y="152763"/>
            <a:ext cx="11129905" cy="4889366"/>
          </a:xfrm>
          <a:prstGeom prst="homePlat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1A6F54B5-0441-4560-B588-51F6748A10E7}"/>
              </a:ext>
            </a:extLst>
          </p:cNvPr>
          <p:cNvSpPr/>
          <p:nvPr/>
        </p:nvSpPr>
        <p:spPr>
          <a:xfrm>
            <a:off x="853933" y="303302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E76D8363-97F8-4D84-B055-4CAB5AF1B9B9}"/>
              </a:ext>
            </a:extLst>
          </p:cNvPr>
          <p:cNvSpPr/>
          <p:nvPr/>
        </p:nvSpPr>
        <p:spPr>
          <a:xfrm>
            <a:off x="1161896" y="303302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E1E5901C-75B9-4255-B79F-AFC39A71CB5A}"/>
              </a:ext>
            </a:extLst>
          </p:cNvPr>
          <p:cNvSpPr/>
          <p:nvPr/>
        </p:nvSpPr>
        <p:spPr>
          <a:xfrm>
            <a:off x="1777821" y="303302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5B68763A-C0FE-4288-99F2-5FD3D1D6259F}"/>
              </a:ext>
            </a:extLst>
          </p:cNvPr>
          <p:cNvSpPr/>
          <p:nvPr/>
        </p:nvSpPr>
        <p:spPr>
          <a:xfrm>
            <a:off x="2085784" y="303302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36678E34-C42F-4272-A80C-040E642AF4BE}"/>
              </a:ext>
            </a:extLst>
          </p:cNvPr>
          <p:cNvSpPr/>
          <p:nvPr/>
        </p:nvSpPr>
        <p:spPr>
          <a:xfrm>
            <a:off x="2393745" y="303302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12996ED4-A971-4578-B5CD-3D91B7A50B7D}"/>
              </a:ext>
            </a:extLst>
          </p:cNvPr>
          <p:cNvSpPr/>
          <p:nvPr/>
        </p:nvSpPr>
        <p:spPr>
          <a:xfrm>
            <a:off x="1469859" y="303302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xmlns="" id="{F4FC888B-7FCA-46F6-B3EA-F5E5A44DE1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03568" y="250851"/>
            <a:ext cx="1025765" cy="301519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xmlns="" id="{3AF8591F-F851-4C72-BCB4-63E779F403D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8170626" y="213443"/>
            <a:ext cx="387695" cy="395497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7617DD60-ACC1-4B3D-9688-6C9FA0B2E896}"/>
              </a:ext>
            </a:extLst>
          </p:cNvPr>
          <p:cNvSpPr txBox="1"/>
          <p:nvPr/>
        </p:nvSpPr>
        <p:spPr>
          <a:xfrm>
            <a:off x="92678" y="1158427"/>
            <a:ext cx="8958644" cy="2893100"/>
          </a:xfrm>
          <a:prstGeom prst="rect">
            <a:avLst/>
          </a:prstGeom>
          <a:solidFill>
            <a:srgbClr val="000000"/>
          </a:solidFill>
          <a:ln>
            <a:solidFill>
              <a:srgbClr val="FFFFFF"/>
            </a:solidFill>
          </a:ln>
        </p:spPr>
        <p:txBody>
          <a:bodyPr wrap="square" numCol="2" rtlCol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accent4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[</a:t>
            </a:r>
            <a:r>
              <a:rPr lang="en-US" dirty="0" err="1">
                <a:solidFill>
                  <a:schemeClr val="accent4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root@dip</a:t>
            </a:r>
            <a:r>
              <a:rPr lang="en-US" dirty="0">
                <a:solidFill>
                  <a:schemeClr val="accent4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~]# vi /</a:t>
            </a:r>
            <a:r>
              <a:rPr lang="en-US" dirty="0" err="1">
                <a:solidFill>
                  <a:schemeClr val="accent4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etc</a:t>
            </a:r>
            <a:r>
              <a:rPr lang="en-US" dirty="0">
                <a:solidFill>
                  <a:schemeClr val="accent4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/</a:t>
            </a:r>
            <a:r>
              <a:rPr lang="en-US" dirty="0" err="1">
                <a:solidFill>
                  <a:schemeClr val="accent4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sysconfig</a:t>
            </a:r>
            <a:r>
              <a:rPr lang="en-US" dirty="0">
                <a:solidFill>
                  <a:schemeClr val="accent4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/network-scripts/ifcfg-eth0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/>
            </a:r>
            <a:b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</a:b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DEVICE=eth0</a:t>
            </a:r>
            <a:b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</a:b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HWADDR=00:0c:29:78:cc:fd</a:t>
            </a:r>
            <a:b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</a:b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#​​ change</a:t>
            </a:r>
            <a:b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</a:b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BOOTPROTO=none</a:t>
            </a:r>
            <a:b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</a:b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ONBOOT=yes</a:t>
            </a:r>
            <a:b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</a:b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NM_CONTROLLED=yes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# add follows</a:t>
            </a:r>
            <a:b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</a:b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# this server’s IP address</a:t>
            </a:r>
            <a:b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</a:b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IPADDR=10.0.0.30</a:t>
            </a:r>
            <a:b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</a:b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# subnet mask</a:t>
            </a:r>
            <a:b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</a:b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NETMASK=255.255.255.0</a:t>
            </a:r>
            <a:b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</a:b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TYPE=Ethernet</a:t>
            </a:r>
            <a:b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</a:b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# default getaway</a:t>
            </a:r>
            <a:b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</a:b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GETAWAY=10.0.0.1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# DNS server’s IP address</a:t>
            </a:r>
            <a:b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</a:b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DNS1=10.0.0.10</a:t>
            </a:r>
            <a:b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</a:b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IPV6INIT=no</a:t>
            </a:r>
            <a:b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</a:b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USERCTL=no</a:t>
            </a:r>
            <a:b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</a:b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PREFIX=24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[</a:t>
            </a:r>
            <a:r>
              <a:rPr lang="en-US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root@dip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~]# </a:t>
            </a:r>
            <a:r>
              <a:rPr lang="en-US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systemctl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restart </a:t>
            </a:r>
            <a:r>
              <a:rPr lang="en-US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network.service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/>
            </a:r>
            <a:b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</a:br>
            <a:r>
              <a:rPr lang="en-US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Systemctl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</a:t>
            </a:r>
            <a:r>
              <a:rPr lang="km-KH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ផ្ញើបញ្ហាត្រួតពិនិត្យឲ្យ 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system manager.</a:t>
            </a:r>
            <a:b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</a:b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[SYNOPSIS] </a:t>
            </a:r>
            <a:r>
              <a:rPr lang="en-US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systemctl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OPTION COMMAND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38588824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0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0FC3722-8F96-43A5-A133-2ADF5CE88875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b="0" i="0" u="none" strike="noStrike" kern="0" cap="none" spc="0" normalizeH="0" baseline="0" noProof="0" dirty="0" err="1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Ang DaunKeo" panose="020B0503020102020204" pitchFamily="34" charset="0"/>
              <a:cs typeface="Ang DaunKeo" panose="020B0503020102020204" pitchFamily="34" charset="0"/>
              <a:sym typeface="Arial"/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xmlns="" id="{475343A4-333F-4558-9B30-BC15AAB1A318}"/>
              </a:ext>
            </a:extLst>
          </p:cNvPr>
          <p:cNvSpPr/>
          <p:nvPr/>
        </p:nvSpPr>
        <p:spPr>
          <a:xfrm>
            <a:off x="-50782" y="1"/>
            <a:ext cx="11302409" cy="519489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Ang DaunKeo" panose="020B0503020102020204" pitchFamily="34" charset="0"/>
              <a:cs typeface="Ang DaunKeo" panose="020B0503020102020204" pitchFamily="34" charset="0"/>
              <a:sym typeface="Arial"/>
            </a:endParaRPr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xmlns="" id="{925C2EED-F692-4F64-B5C8-DBB35B8EAE13}"/>
              </a:ext>
            </a:extLst>
          </p:cNvPr>
          <p:cNvSpPr/>
          <p:nvPr/>
        </p:nvSpPr>
        <p:spPr>
          <a:xfrm>
            <a:off x="-55546" y="66454"/>
            <a:ext cx="11251630" cy="507704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Ang DaunKeo" panose="020B0503020102020204" pitchFamily="34" charset="0"/>
              <a:cs typeface="Ang DaunKeo" panose="020B0503020102020204" pitchFamily="34" charset="0"/>
              <a:sym typeface="Arial"/>
            </a:endParaRPr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xmlns="" id="{BE6E1CF5-59DA-43AB-9866-0328CF12083B}"/>
              </a:ext>
            </a:extLst>
          </p:cNvPr>
          <p:cNvSpPr/>
          <p:nvPr/>
        </p:nvSpPr>
        <p:spPr>
          <a:xfrm>
            <a:off x="-3" y="127067"/>
            <a:ext cx="11111023" cy="4949979"/>
          </a:xfrm>
          <a:prstGeom prst="homePlat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Ang DaunKeo" panose="020B0503020102020204" pitchFamily="34" charset="0"/>
              <a:cs typeface="Ang DaunKeo" panose="020B0503020102020204" pitchFamily="34" charset="0"/>
              <a:sym typeface="Arial"/>
            </a:endParaRPr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xmlns="" id="{5386A08B-7D7F-47E3-92B0-DE14688643F9}"/>
              </a:ext>
            </a:extLst>
          </p:cNvPr>
          <p:cNvSpPr/>
          <p:nvPr/>
        </p:nvSpPr>
        <p:spPr>
          <a:xfrm>
            <a:off x="-74428" y="152763"/>
            <a:ext cx="11129905" cy="4889366"/>
          </a:xfrm>
          <a:prstGeom prst="homePlat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lang="en-US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lang="en-US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OPTIONS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Ang DaunKeo" panose="020B0503020102020204" pitchFamily="34" charset="0"/>
              <a:cs typeface="Ang DaunKeo" panose="020B0503020102020204" pitchFamily="34" charset="0"/>
              <a:sym typeface="Arial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1A6F54B5-0441-4560-B588-51F6748A10E7}"/>
              </a:ext>
            </a:extLst>
          </p:cNvPr>
          <p:cNvSpPr/>
          <p:nvPr/>
        </p:nvSpPr>
        <p:spPr>
          <a:xfrm>
            <a:off x="853933" y="303302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Ang DaunKeo" panose="020B0503020102020204" pitchFamily="34" charset="0"/>
              <a:cs typeface="Ang DaunKeo" panose="020B0503020102020204" pitchFamily="34" charset="0"/>
              <a:sym typeface="Arial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E76D8363-97F8-4D84-B055-4CAB5AF1B9B9}"/>
              </a:ext>
            </a:extLst>
          </p:cNvPr>
          <p:cNvSpPr/>
          <p:nvPr/>
        </p:nvSpPr>
        <p:spPr>
          <a:xfrm>
            <a:off x="1161896" y="303302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Ang DaunKeo" panose="020B0503020102020204" pitchFamily="34" charset="0"/>
              <a:cs typeface="Ang DaunKeo" panose="020B0503020102020204" pitchFamily="34" charset="0"/>
              <a:sym typeface="Arial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E1E5901C-75B9-4255-B79F-AFC39A71CB5A}"/>
              </a:ext>
            </a:extLst>
          </p:cNvPr>
          <p:cNvSpPr/>
          <p:nvPr/>
        </p:nvSpPr>
        <p:spPr>
          <a:xfrm>
            <a:off x="1777821" y="303302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Ang DaunKeo" panose="020B0503020102020204" pitchFamily="34" charset="0"/>
              <a:cs typeface="Ang DaunKeo" panose="020B0503020102020204" pitchFamily="34" charset="0"/>
              <a:sym typeface="Arial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5B68763A-C0FE-4288-99F2-5FD3D1D6259F}"/>
              </a:ext>
            </a:extLst>
          </p:cNvPr>
          <p:cNvSpPr/>
          <p:nvPr/>
        </p:nvSpPr>
        <p:spPr>
          <a:xfrm>
            <a:off x="2085784" y="303302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Ang DaunKeo" panose="020B0503020102020204" pitchFamily="34" charset="0"/>
              <a:cs typeface="Ang DaunKeo" panose="020B0503020102020204" pitchFamily="34" charset="0"/>
              <a:sym typeface="Arial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36678E34-C42F-4272-A80C-040E642AF4BE}"/>
              </a:ext>
            </a:extLst>
          </p:cNvPr>
          <p:cNvSpPr/>
          <p:nvPr/>
        </p:nvSpPr>
        <p:spPr>
          <a:xfrm>
            <a:off x="2393745" y="303302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Ang DaunKeo" panose="020B0503020102020204" pitchFamily="34" charset="0"/>
              <a:cs typeface="Ang DaunKeo" panose="020B0503020102020204" pitchFamily="34" charset="0"/>
              <a:sym typeface="Arial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12996ED4-A971-4578-B5CD-3D91B7A50B7D}"/>
              </a:ext>
            </a:extLst>
          </p:cNvPr>
          <p:cNvSpPr/>
          <p:nvPr/>
        </p:nvSpPr>
        <p:spPr>
          <a:xfrm>
            <a:off x="1469859" y="303302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Ang DaunKeo" panose="020B0503020102020204" pitchFamily="34" charset="0"/>
              <a:cs typeface="Ang DaunKeo" panose="020B0503020102020204" pitchFamily="34" charset="0"/>
              <a:sym typeface="Arial"/>
            </a:endParaRP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xmlns="" id="{F4FC888B-7FCA-46F6-B3EA-F5E5A44DE1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03568" y="250851"/>
            <a:ext cx="1025765" cy="301519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xmlns="" id="{3AF8591F-F851-4C72-BCB4-63E779F403D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8170626" y="213443"/>
            <a:ext cx="387695" cy="395497"/>
          </a:xfrm>
          <a:prstGeom prst="rect">
            <a:avLst/>
          </a:prstGeom>
        </p:spPr>
      </p:pic>
      <p:sp>
        <p:nvSpPr>
          <p:cNvPr id="39" name="AutoShape 3">
            <a:extLst>
              <a:ext uri="{FF2B5EF4-FFF2-40B4-BE49-F238E27FC236}">
                <a16:creationId xmlns:a16="http://schemas.microsoft.com/office/drawing/2014/main" xmlns="" id="{D76A666D-1C4C-4EBD-8B12-BE458C31E1A0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161896" y="954891"/>
            <a:ext cx="5956300" cy="132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ng DaunKeo" panose="020B0503020102020204" pitchFamily="34" charset="0"/>
              <a:cs typeface="Ang DaunKeo" panose="020B0503020102020204" pitchFamily="34" charset="0"/>
            </a:endParaRPr>
          </a:p>
        </p:txBody>
      </p:sp>
      <p:sp>
        <p:nvSpPr>
          <p:cNvPr id="40" name="Line 5">
            <a:extLst>
              <a:ext uri="{FF2B5EF4-FFF2-40B4-BE49-F238E27FC236}">
                <a16:creationId xmlns:a16="http://schemas.microsoft.com/office/drawing/2014/main" xmlns="" id="{4568731C-EFBF-4190-876F-641EF0D106E3}"/>
              </a:ext>
            </a:extLst>
          </p:cNvPr>
          <p:cNvSpPr>
            <a:spLocks noChangeShapeType="1"/>
          </p:cNvSpPr>
          <p:nvPr/>
        </p:nvSpPr>
        <p:spPr bwMode="auto">
          <a:xfrm>
            <a:off x="2033434" y="954891"/>
            <a:ext cx="0" cy="1219200"/>
          </a:xfrm>
          <a:prstGeom prst="line">
            <a:avLst/>
          </a:prstGeom>
          <a:noFill/>
          <a:ln w="9525" cap="flat">
            <a:solidFill>
              <a:srgbClr val="9E9E9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ng DaunKeo" panose="020B0503020102020204" pitchFamily="34" charset="0"/>
              <a:cs typeface="Ang DaunKeo" panose="020B0503020102020204" pitchFamily="34" charset="0"/>
            </a:endParaRPr>
          </a:p>
        </p:txBody>
      </p:sp>
      <p:sp>
        <p:nvSpPr>
          <p:cNvPr id="41" name="Line 6">
            <a:extLst>
              <a:ext uri="{FF2B5EF4-FFF2-40B4-BE49-F238E27FC236}">
                <a16:creationId xmlns:a16="http://schemas.microsoft.com/office/drawing/2014/main" xmlns="" id="{ACAE1639-3408-4029-BB3A-3781D81182CA}"/>
              </a:ext>
            </a:extLst>
          </p:cNvPr>
          <p:cNvSpPr>
            <a:spLocks noChangeShapeType="1"/>
          </p:cNvSpPr>
          <p:nvPr/>
        </p:nvSpPr>
        <p:spPr bwMode="auto">
          <a:xfrm>
            <a:off x="1174596" y="1564491"/>
            <a:ext cx="5948363" cy="0"/>
          </a:xfrm>
          <a:prstGeom prst="line">
            <a:avLst/>
          </a:prstGeom>
          <a:noFill/>
          <a:ln w="9525" cap="flat">
            <a:solidFill>
              <a:srgbClr val="9E9E9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ng DaunKeo" panose="020B0503020102020204" pitchFamily="34" charset="0"/>
              <a:cs typeface="Ang DaunKeo" panose="020B0503020102020204" pitchFamily="34" charset="0"/>
            </a:endParaRPr>
          </a:p>
        </p:txBody>
      </p:sp>
      <p:sp>
        <p:nvSpPr>
          <p:cNvPr id="42" name="Line 7">
            <a:extLst>
              <a:ext uri="{FF2B5EF4-FFF2-40B4-BE49-F238E27FC236}">
                <a16:creationId xmlns:a16="http://schemas.microsoft.com/office/drawing/2014/main" xmlns="" id="{BFB936B5-15AC-4F49-8CCC-EAFC1C302139}"/>
              </a:ext>
            </a:extLst>
          </p:cNvPr>
          <p:cNvSpPr>
            <a:spLocks noChangeShapeType="1"/>
          </p:cNvSpPr>
          <p:nvPr/>
        </p:nvSpPr>
        <p:spPr bwMode="auto">
          <a:xfrm>
            <a:off x="1179359" y="954891"/>
            <a:ext cx="0" cy="1219200"/>
          </a:xfrm>
          <a:prstGeom prst="line">
            <a:avLst/>
          </a:prstGeom>
          <a:noFill/>
          <a:ln w="9525" cap="flat">
            <a:solidFill>
              <a:srgbClr val="9E9E9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ng DaunKeo" panose="020B0503020102020204" pitchFamily="34" charset="0"/>
              <a:cs typeface="Ang DaunKeo" panose="020B0503020102020204" pitchFamily="34" charset="0"/>
            </a:endParaRPr>
          </a:p>
        </p:txBody>
      </p:sp>
      <p:sp>
        <p:nvSpPr>
          <p:cNvPr id="43" name="Line 8">
            <a:extLst>
              <a:ext uri="{FF2B5EF4-FFF2-40B4-BE49-F238E27FC236}">
                <a16:creationId xmlns:a16="http://schemas.microsoft.com/office/drawing/2014/main" xmlns="" id="{FC7249B5-9312-4640-BAB3-05FC017CE3C6}"/>
              </a:ext>
            </a:extLst>
          </p:cNvPr>
          <p:cNvSpPr>
            <a:spLocks noChangeShapeType="1"/>
          </p:cNvSpPr>
          <p:nvPr/>
        </p:nvSpPr>
        <p:spPr bwMode="auto">
          <a:xfrm>
            <a:off x="7118196" y="954891"/>
            <a:ext cx="0" cy="1219200"/>
          </a:xfrm>
          <a:prstGeom prst="line">
            <a:avLst/>
          </a:prstGeom>
          <a:noFill/>
          <a:ln w="9525" cap="flat">
            <a:solidFill>
              <a:srgbClr val="9E9E9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ng DaunKeo" panose="020B0503020102020204" pitchFamily="34" charset="0"/>
              <a:cs typeface="Ang DaunKeo" panose="020B0503020102020204" pitchFamily="34" charset="0"/>
            </a:endParaRPr>
          </a:p>
        </p:txBody>
      </p:sp>
      <p:sp>
        <p:nvSpPr>
          <p:cNvPr id="44" name="Line 9">
            <a:extLst>
              <a:ext uri="{FF2B5EF4-FFF2-40B4-BE49-F238E27FC236}">
                <a16:creationId xmlns:a16="http://schemas.microsoft.com/office/drawing/2014/main" xmlns="" id="{A69157C9-D8C9-43F3-BBD7-F4462583E057}"/>
              </a:ext>
            </a:extLst>
          </p:cNvPr>
          <p:cNvSpPr>
            <a:spLocks noChangeShapeType="1"/>
          </p:cNvSpPr>
          <p:nvPr/>
        </p:nvSpPr>
        <p:spPr bwMode="auto">
          <a:xfrm>
            <a:off x="1174596" y="959654"/>
            <a:ext cx="5948363" cy="0"/>
          </a:xfrm>
          <a:prstGeom prst="line">
            <a:avLst/>
          </a:prstGeom>
          <a:noFill/>
          <a:ln w="9525" cap="flat">
            <a:solidFill>
              <a:srgbClr val="9E9E9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ng DaunKeo" panose="020B0503020102020204" pitchFamily="34" charset="0"/>
              <a:cs typeface="Ang DaunKeo" panose="020B0503020102020204" pitchFamily="34" charset="0"/>
            </a:endParaRPr>
          </a:p>
        </p:txBody>
      </p:sp>
      <p:sp>
        <p:nvSpPr>
          <p:cNvPr id="45" name="Line 10">
            <a:extLst>
              <a:ext uri="{FF2B5EF4-FFF2-40B4-BE49-F238E27FC236}">
                <a16:creationId xmlns:a16="http://schemas.microsoft.com/office/drawing/2014/main" xmlns="" id="{86672E22-A5DD-4AAB-896B-3CA90603F5C5}"/>
              </a:ext>
            </a:extLst>
          </p:cNvPr>
          <p:cNvSpPr>
            <a:spLocks noChangeShapeType="1"/>
          </p:cNvSpPr>
          <p:nvPr/>
        </p:nvSpPr>
        <p:spPr bwMode="auto">
          <a:xfrm>
            <a:off x="1174596" y="2169329"/>
            <a:ext cx="5948363" cy="0"/>
          </a:xfrm>
          <a:prstGeom prst="line">
            <a:avLst/>
          </a:prstGeom>
          <a:noFill/>
          <a:ln w="9525" cap="flat">
            <a:solidFill>
              <a:srgbClr val="9E9E9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ng DaunKeo" panose="020B0503020102020204" pitchFamily="34" charset="0"/>
              <a:cs typeface="Ang DaunKeo" panose="020B0503020102020204" pitchFamily="34" charset="0"/>
            </a:endParaRPr>
          </a:p>
        </p:txBody>
      </p:sp>
      <p:sp>
        <p:nvSpPr>
          <p:cNvPr id="54" name="Rectangle 11">
            <a:extLst>
              <a:ext uri="{FF2B5EF4-FFF2-40B4-BE49-F238E27FC236}">
                <a16:creationId xmlns:a16="http://schemas.microsoft.com/office/drawing/2014/main" xmlns="" id="{128995A6-1AA9-4F78-B456-ED663F21D5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49209" y="1021566"/>
            <a:ext cx="89768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g DaunKeo" panose="020B0503020102020204" pitchFamily="34" charset="0"/>
                <a:cs typeface="Ang DaunKeo" panose="020B0503020102020204" pitchFamily="34" charset="0"/>
              </a:rPr>
              <a:t>--</a:t>
            </a:r>
          </a:p>
        </p:txBody>
      </p:sp>
      <p:sp>
        <p:nvSpPr>
          <p:cNvPr id="55" name="Rectangle 12">
            <a:extLst>
              <a:ext uri="{FF2B5EF4-FFF2-40B4-BE49-F238E27FC236}">
                <a16:creationId xmlns:a16="http://schemas.microsoft.com/office/drawing/2014/main" xmlns="" id="{BA4C8511-9510-4C8E-A391-8B53B45048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5109" y="1021566"/>
            <a:ext cx="17793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g DaunKeo" panose="020B0503020102020204" pitchFamily="34" charset="0"/>
                <a:cs typeface="Ang DaunKeo" panose="020B0503020102020204" pitchFamily="34" charset="0"/>
              </a:rPr>
              <a:t>all</a:t>
            </a:r>
          </a:p>
        </p:txBody>
      </p:sp>
      <p:sp>
        <p:nvSpPr>
          <p:cNvPr id="56" name="Rectangle 13">
            <a:extLst>
              <a:ext uri="{FF2B5EF4-FFF2-40B4-BE49-F238E27FC236}">
                <a16:creationId xmlns:a16="http://schemas.microsoft.com/office/drawing/2014/main" xmlns="" id="{32751BB1-AC9A-4A08-BAAF-6D2E5DE922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03284" y="1021566"/>
            <a:ext cx="406200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g DaunKeo" panose="020B0503020102020204" pitchFamily="34" charset="0"/>
                <a:cs typeface="Ang DaunKeo" panose="020B0503020102020204" pitchFamily="34" charset="0"/>
              </a:rPr>
              <a:t>Show all units/properties, including dead/empty ones</a:t>
            </a:r>
          </a:p>
        </p:txBody>
      </p:sp>
      <p:sp>
        <p:nvSpPr>
          <p:cNvPr id="57" name="Rectangle 14">
            <a:extLst>
              <a:ext uri="{FF2B5EF4-FFF2-40B4-BE49-F238E27FC236}">
                <a16:creationId xmlns:a16="http://schemas.microsoft.com/office/drawing/2014/main" xmlns="" id="{2F17E87F-58DE-46D8-996D-62E4D186A2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03284" y="1343829"/>
            <a:ext cx="1506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g DaunKeo" panose="020B0503020102020204" pitchFamily="34" charset="0"/>
                <a:cs typeface="Ang DaunKeo" panose="020B0503020102020204" pitchFamily="34" charset="0"/>
              </a:rPr>
              <a:t># </a:t>
            </a:r>
          </a:p>
        </p:txBody>
      </p:sp>
      <p:sp>
        <p:nvSpPr>
          <p:cNvPr id="58" name="Rectangle 15">
            <a:extLst>
              <a:ext uri="{FF2B5EF4-FFF2-40B4-BE49-F238E27FC236}">
                <a16:creationId xmlns:a16="http://schemas.microsoft.com/office/drawing/2014/main" xmlns="" id="{6DF18C70-B761-44EE-B334-7674F349A1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7434" y="1343829"/>
            <a:ext cx="713337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g DaunKeo" panose="020B0503020102020204" pitchFamily="34" charset="0"/>
                <a:cs typeface="Ang DaunKeo" panose="020B0503020102020204" pitchFamily="34" charset="0"/>
              </a:rPr>
              <a:t>systemctl</a:t>
            </a:r>
            <a:endParaRPr kumimoji="0" lang="en-US" altLang="en-US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ng DaunKeo" panose="020B0503020102020204" pitchFamily="34" charset="0"/>
              <a:cs typeface="Ang DaunKeo" panose="020B0503020102020204" pitchFamily="34" charset="0"/>
            </a:endParaRPr>
          </a:p>
        </p:txBody>
      </p:sp>
      <p:sp>
        <p:nvSpPr>
          <p:cNvPr id="59" name="Rectangle 16">
            <a:extLst>
              <a:ext uri="{FF2B5EF4-FFF2-40B4-BE49-F238E27FC236}">
                <a16:creationId xmlns:a16="http://schemas.microsoft.com/office/drawing/2014/main" xmlns="" id="{2D79115C-14B9-4AB0-A5F4-E89C093087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85959" y="1343829"/>
            <a:ext cx="89768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g DaunKeo" panose="020B0503020102020204" pitchFamily="34" charset="0"/>
                <a:cs typeface="Ang DaunKeo" panose="020B0503020102020204" pitchFamily="34" charset="0"/>
              </a:rPr>
              <a:t>--</a:t>
            </a:r>
          </a:p>
        </p:txBody>
      </p:sp>
      <p:sp>
        <p:nvSpPr>
          <p:cNvPr id="60" name="Rectangle 17">
            <a:extLst>
              <a:ext uri="{FF2B5EF4-FFF2-40B4-BE49-F238E27FC236}">
                <a16:creationId xmlns:a16="http://schemas.microsoft.com/office/drawing/2014/main" xmlns="" id="{5CE9848E-62B0-48CB-8380-4259800B78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01859" y="1343829"/>
            <a:ext cx="17793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g DaunKeo" panose="020B0503020102020204" pitchFamily="34" charset="0"/>
                <a:cs typeface="Ang DaunKeo" panose="020B0503020102020204" pitchFamily="34" charset="0"/>
              </a:rPr>
              <a:t>all</a:t>
            </a:r>
          </a:p>
        </p:txBody>
      </p:sp>
      <p:sp>
        <p:nvSpPr>
          <p:cNvPr id="61" name="Rectangle 18">
            <a:extLst>
              <a:ext uri="{FF2B5EF4-FFF2-40B4-BE49-F238E27FC236}">
                <a16:creationId xmlns:a16="http://schemas.microsoft.com/office/drawing/2014/main" xmlns="" id="{50CAD59C-8570-41F9-BE9B-CDA7170897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49209" y="1626404"/>
            <a:ext cx="89768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g DaunKeo" panose="020B0503020102020204" pitchFamily="34" charset="0"/>
                <a:cs typeface="Ang DaunKeo" panose="020B0503020102020204" pitchFamily="34" charset="0"/>
              </a:rPr>
              <a:t>--</a:t>
            </a:r>
          </a:p>
        </p:txBody>
      </p:sp>
      <p:sp>
        <p:nvSpPr>
          <p:cNvPr id="62" name="Rectangle 19">
            <a:extLst>
              <a:ext uri="{FF2B5EF4-FFF2-40B4-BE49-F238E27FC236}">
                <a16:creationId xmlns:a16="http://schemas.microsoft.com/office/drawing/2014/main" xmlns="" id="{1146EC65-5548-4077-A6D3-7B7F1D80A2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5109" y="1626404"/>
            <a:ext cx="5450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g DaunKeo" panose="020B0503020102020204" pitchFamily="34" charset="0"/>
                <a:cs typeface="Ang DaunKeo" panose="020B0503020102020204" pitchFamily="34" charset="0"/>
              </a:rPr>
              <a:t>t</a:t>
            </a:r>
          </a:p>
        </p:txBody>
      </p:sp>
      <p:sp>
        <p:nvSpPr>
          <p:cNvPr id="63" name="Rectangle 20">
            <a:extLst>
              <a:ext uri="{FF2B5EF4-FFF2-40B4-BE49-F238E27FC236}">
                <a16:creationId xmlns:a16="http://schemas.microsoft.com/office/drawing/2014/main" xmlns="" id="{D8C8082D-F92B-419E-BF2C-9EB805033A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03284" y="1626404"/>
            <a:ext cx="250068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g DaunKeo" panose="020B0503020102020204" pitchFamily="34" charset="0"/>
                <a:cs typeface="Ang DaunKeo" panose="020B0503020102020204" pitchFamily="34" charset="0"/>
              </a:rPr>
              <a:t>List only units of a particular type</a:t>
            </a:r>
          </a:p>
        </p:txBody>
      </p:sp>
      <p:sp>
        <p:nvSpPr>
          <p:cNvPr id="64" name="Rectangle 21">
            <a:extLst>
              <a:ext uri="{FF2B5EF4-FFF2-40B4-BE49-F238E27FC236}">
                <a16:creationId xmlns:a16="http://schemas.microsoft.com/office/drawing/2014/main" xmlns="" id="{0B811F89-D5D3-4F19-811A-74BB84B81E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03284" y="1947079"/>
            <a:ext cx="1506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g DaunKeo" panose="020B0503020102020204" pitchFamily="34" charset="0"/>
                <a:cs typeface="Ang DaunKeo" panose="020B0503020102020204" pitchFamily="34" charset="0"/>
              </a:rPr>
              <a:t># </a:t>
            </a:r>
          </a:p>
        </p:txBody>
      </p:sp>
      <p:sp>
        <p:nvSpPr>
          <p:cNvPr id="65" name="Rectangle 22">
            <a:extLst>
              <a:ext uri="{FF2B5EF4-FFF2-40B4-BE49-F238E27FC236}">
                <a16:creationId xmlns:a16="http://schemas.microsoft.com/office/drawing/2014/main" xmlns="" id="{D4B2B987-9FF5-4260-AF14-A9BB4E8D10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7434" y="1947079"/>
            <a:ext cx="713337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g DaunKeo" panose="020B0503020102020204" pitchFamily="34" charset="0"/>
                <a:cs typeface="Ang DaunKeo" panose="020B0503020102020204" pitchFamily="34" charset="0"/>
              </a:rPr>
              <a:t>systemctl</a:t>
            </a:r>
          </a:p>
        </p:txBody>
      </p:sp>
      <p:sp>
        <p:nvSpPr>
          <p:cNvPr id="66" name="Rectangle 23">
            <a:extLst>
              <a:ext uri="{FF2B5EF4-FFF2-40B4-BE49-F238E27FC236}">
                <a16:creationId xmlns:a16="http://schemas.microsoft.com/office/drawing/2014/main" xmlns="" id="{8C43A9D7-CBD4-4EB5-B555-F53DD2F2C7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85959" y="1947079"/>
            <a:ext cx="105798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g DaunKeo" panose="020B0503020102020204" pitchFamily="34" charset="0"/>
                <a:cs typeface="Ang DaunKeo" panose="020B0503020102020204" pitchFamily="34" charset="0"/>
              </a:rPr>
              <a:t>–</a:t>
            </a:r>
          </a:p>
        </p:txBody>
      </p:sp>
      <p:sp>
        <p:nvSpPr>
          <p:cNvPr id="67" name="Rectangle 24">
            <a:extLst>
              <a:ext uri="{FF2B5EF4-FFF2-40B4-BE49-F238E27FC236}">
                <a16:creationId xmlns:a16="http://schemas.microsoft.com/office/drawing/2014/main" xmlns="" id="{D24CE939-74F3-4234-B127-848D9D1EE9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08196" y="1947079"/>
            <a:ext cx="633187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g DaunKeo" panose="020B0503020102020204" pitchFamily="34" charset="0"/>
                <a:cs typeface="Ang DaunKeo" panose="020B0503020102020204" pitchFamily="34" charset="0"/>
              </a:rPr>
              <a:t>t servic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867479823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  <p:bldP spid="40" grpId="0" animBg="1"/>
      <p:bldP spid="41" grpId="0" animBg="1"/>
      <p:bldP spid="42" grpId="0" animBg="1"/>
      <p:bldP spid="43" grpId="0" animBg="1"/>
      <p:bldP spid="44" grpId="0" animBg="1"/>
      <p:bldP spid="45" grpId="0" animBg="1"/>
      <p:bldP spid="54" grpId="0"/>
      <p:bldP spid="55" grpId="0"/>
      <p:bldP spid="56" grpId="0"/>
      <p:bldP spid="57" grpId="0"/>
      <p:bldP spid="58" grpId="0"/>
      <p:bldP spid="59" grpId="0"/>
      <p:bldP spid="60" grpId="0"/>
      <p:bldP spid="61" grpId="0"/>
      <p:bldP spid="62" grpId="0"/>
      <p:bldP spid="63" grpId="0"/>
      <p:bldP spid="64" grpId="0"/>
      <p:bldP spid="65" grpId="0"/>
      <p:bldP spid="66" grpId="0"/>
      <p:bldP spid="67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4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0FC3722-8F96-43A5-A133-2ADF5CE88875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xmlns="" id="{475343A4-333F-4558-9B30-BC15AAB1A318}"/>
              </a:ext>
            </a:extLst>
          </p:cNvPr>
          <p:cNvSpPr/>
          <p:nvPr/>
        </p:nvSpPr>
        <p:spPr>
          <a:xfrm>
            <a:off x="-50782" y="1"/>
            <a:ext cx="11302409" cy="519489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xmlns="" id="{925C2EED-F692-4F64-B5C8-DBB35B8EAE13}"/>
              </a:ext>
            </a:extLst>
          </p:cNvPr>
          <p:cNvSpPr/>
          <p:nvPr/>
        </p:nvSpPr>
        <p:spPr>
          <a:xfrm>
            <a:off x="-55546" y="66454"/>
            <a:ext cx="11251630" cy="507704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xmlns="" id="{BE6E1CF5-59DA-43AB-9866-0328CF12083B}"/>
              </a:ext>
            </a:extLst>
          </p:cNvPr>
          <p:cNvSpPr/>
          <p:nvPr/>
        </p:nvSpPr>
        <p:spPr>
          <a:xfrm>
            <a:off x="-3" y="127067"/>
            <a:ext cx="11111023" cy="4949979"/>
          </a:xfrm>
          <a:prstGeom prst="homePlat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xmlns="" id="{5386A08B-7D7F-47E3-92B0-DE14688643F9}"/>
              </a:ext>
            </a:extLst>
          </p:cNvPr>
          <p:cNvSpPr/>
          <p:nvPr/>
        </p:nvSpPr>
        <p:spPr>
          <a:xfrm>
            <a:off x="-74428" y="152763"/>
            <a:ext cx="11129905" cy="4889366"/>
          </a:xfrm>
          <a:prstGeom prst="homePlat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lang="en-US" dirty="0">
              <a:solidFill>
                <a:schemeClr val="accent4"/>
              </a:solidFill>
              <a:latin typeface="Segoe UI Semibold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/>
                <a:ea typeface="+mn-ea"/>
                <a:cs typeface="+mn-cs"/>
                <a:sym typeface="Arial"/>
              </a:rPr>
              <a:t>	COMMAND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1A6F54B5-0441-4560-B588-51F6748A10E7}"/>
              </a:ext>
            </a:extLst>
          </p:cNvPr>
          <p:cNvSpPr/>
          <p:nvPr/>
        </p:nvSpPr>
        <p:spPr>
          <a:xfrm>
            <a:off x="853933" y="303302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E76D8363-97F8-4D84-B055-4CAB5AF1B9B9}"/>
              </a:ext>
            </a:extLst>
          </p:cNvPr>
          <p:cNvSpPr/>
          <p:nvPr/>
        </p:nvSpPr>
        <p:spPr>
          <a:xfrm>
            <a:off x="1161896" y="303302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E1E5901C-75B9-4255-B79F-AFC39A71CB5A}"/>
              </a:ext>
            </a:extLst>
          </p:cNvPr>
          <p:cNvSpPr/>
          <p:nvPr/>
        </p:nvSpPr>
        <p:spPr>
          <a:xfrm>
            <a:off x="1777821" y="303302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5B68763A-C0FE-4288-99F2-5FD3D1D6259F}"/>
              </a:ext>
            </a:extLst>
          </p:cNvPr>
          <p:cNvSpPr/>
          <p:nvPr/>
        </p:nvSpPr>
        <p:spPr>
          <a:xfrm>
            <a:off x="2085784" y="303302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36678E34-C42F-4272-A80C-040E642AF4BE}"/>
              </a:ext>
            </a:extLst>
          </p:cNvPr>
          <p:cNvSpPr/>
          <p:nvPr/>
        </p:nvSpPr>
        <p:spPr>
          <a:xfrm>
            <a:off x="2393745" y="303302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12996ED4-A971-4578-B5CD-3D91B7A50B7D}"/>
              </a:ext>
            </a:extLst>
          </p:cNvPr>
          <p:cNvSpPr/>
          <p:nvPr/>
        </p:nvSpPr>
        <p:spPr>
          <a:xfrm>
            <a:off x="1469859" y="303302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xmlns="" id="{F4FC888B-7FCA-46F6-B3EA-F5E5A44DE1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03568" y="250851"/>
            <a:ext cx="1025765" cy="301519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xmlns="" id="{3AF8591F-F851-4C72-BCB4-63E779F403D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8170626" y="213443"/>
            <a:ext cx="387695" cy="395497"/>
          </a:xfrm>
          <a:prstGeom prst="rect">
            <a:avLst/>
          </a:prstGeom>
        </p:spPr>
      </p:pic>
      <p:sp>
        <p:nvSpPr>
          <p:cNvPr id="17" name="AutoShape 3">
            <a:extLst>
              <a:ext uri="{FF2B5EF4-FFF2-40B4-BE49-F238E27FC236}">
                <a16:creationId xmlns:a16="http://schemas.microsoft.com/office/drawing/2014/main" xmlns="" id="{780E5988-E1DF-41A4-803C-09D719761372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947268" y="944637"/>
            <a:ext cx="5956300" cy="3705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Line 5">
            <a:extLst>
              <a:ext uri="{FF2B5EF4-FFF2-40B4-BE49-F238E27FC236}">
                <a16:creationId xmlns:a16="http://schemas.microsoft.com/office/drawing/2014/main" xmlns="" id="{D4810D02-457A-4661-8F6D-36E0138D9F01}"/>
              </a:ext>
            </a:extLst>
          </p:cNvPr>
          <p:cNvSpPr>
            <a:spLocks noChangeShapeType="1"/>
          </p:cNvSpPr>
          <p:nvPr/>
        </p:nvSpPr>
        <p:spPr bwMode="auto">
          <a:xfrm>
            <a:off x="1807693" y="995437"/>
            <a:ext cx="0" cy="3649663"/>
          </a:xfrm>
          <a:prstGeom prst="line">
            <a:avLst/>
          </a:prstGeom>
          <a:noFill/>
          <a:ln w="9525" cap="flat">
            <a:solidFill>
              <a:srgbClr val="9E9E9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Line 6">
            <a:extLst>
              <a:ext uri="{FF2B5EF4-FFF2-40B4-BE49-F238E27FC236}">
                <a16:creationId xmlns:a16="http://schemas.microsoft.com/office/drawing/2014/main" xmlns="" id="{2A3D30AB-EBC0-4987-A051-82EFD93113CB}"/>
              </a:ext>
            </a:extLst>
          </p:cNvPr>
          <p:cNvSpPr>
            <a:spLocks noChangeShapeType="1"/>
          </p:cNvSpPr>
          <p:nvPr/>
        </p:nvSpPr>
        <p:spPr bwMode="auto">
          <a:xfrm>
            <a:off x="953618" y="995437"/>
            <a:ext cx="0" cy="3649663"/>
          </a:xfrm>
          <a:prstGeom prst="line">
            <a:avLst/>
          </a:prstGeom>
          <a:noFill/>
          <a:ln w="9525" cap="flat">
            <a:solidFill>
              <a:srgbClr val="9E9E9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Line 7">
            <a:extLst>
              <a:ext uri="{FF2B5EF4-FFF2-40B4-BE49-F238E27FC236}">
                <a16:creationId xmlns:a16="http://schemas.microsoft.com/office/drawing/2014/main" xmlns="" id="{FB353E1A-B511-43D6-AC8E-BADFCA16F395}"/>
              </a:ext>
            </a:extLst>
          </p:cNvPr>
          <p:cNvSpPr>
            <a:spLocks noChangeShapeType="1"/>
          </p:cNvSpPr>
          <p:nvPr/>
        </p:nvSpPr>
        <p:spPr bwMode="auto">
          <a:xfrm>
            <a:off x="6892456" y="995437"/>
            <a:ext cx="0" cy="3649663"/>
          </a:xfrm>
          <a:prstGeom prst="line">
            <a:avLst/>
          </a:prstGeom>
          <a:noFill/>
          <a:ln w="9525" cap="flat">
            <a:solidFill>
              <a:srgbClr val="9E9E9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Line 8">
            <a:extLst>
              <a:ext uri="{FF2B5EF4-FFF2-40B4-BE49-F238E27FC236}">
                <a16:creationId xmlns:a16="http://schemas.microsoft.com/office/drawing/2014/main" xmlns="" id="{01410BE8-03C1-4E83-BA23-040A642E0554}"/>
              </a:ext>
            </a:extLst>
          </p:cNvPr>
          <p:cNvSpPr>
            <a:spLocks noChangeShapeType="1"/>
          </p:cNvSpPr>
          <p:nvPr/>
        </p:nvSpPr>
        <p:spPr bwMode="auto">
          <a:xfrm>
            <a:off x="948856" y="1000200"/>
            <a:ext cx="5948363" cy="0"/>
          </a:xfrm>
          <a:prstGeom prst="line">
            <a:avLst/>
          </a:prstGeom>
          <a:noFill/>
          <a:ln w="9525" cap="flat">
            <a:solidFill>
              <a:srgbClr val="9E9E9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Line 9">
            <a:extLst>
              <a:ext uri="{FF2B5EF4-FFF2-40B4-BE49-F238E27FC236}">
                <a16:creationId xmlns:a16="http://schemas.microsoft.com/office/drawing/2014/main" xmlns="" id="{8F06D337-5A26-4CA8-B107-B81DC656299D}"/>
              </a:ext>
            </a:extLst>
          </p:cNvPr>
          <p:cNvSpPr>
            <a:spLocks noChangeShapeType="1"/>
          </p:cNvSpPr>
          <p:nvPr/>
        </p:nvSpPr>
        <p:spPr bwMode="auto">
          <a:xfrm>
            <a:off x="948856" y="4640337"/>
            <a:ext cx="5948363" cy="0"/>
          </a:xfrm>
          <a:prstGeom prst="line">
            <a:avLst/>
          </a:prstGeom>
          <a:noFill/>
          <a:ln w="9525" cap="flat">
            <a:solidFill>
              <a:srgbClr val="9E9E9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10">
            <a:extLst>
              <a:ext uri="{FF2B5EF4-FFF2-40B4-BE49-F238E27FC236}">
                <a16:creationId xmlns:a16="http://schemas.microsoft.com/office/drawing/2014/main" xmlns="" id="{55227B48-E836-4F63-8058-DA8C3AF7B0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3468" y="1241500"/>
            <a:ext cx="454025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star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5" name="Rectangle 11">
            <a:extLst>
              <a:ext uri="{FF2B5EF4-FFF2-40B4-BE49-F238E27FC236}">
                <a16:creationId xmlns:a16="http://schemas.microsoft.com/office/drawing/2014/main" xmlns="" id="{B04010BC-C293-4851-B55E-CF917F7336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3468" y="2154312"/>
            <a:ext cx="442913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stop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" name="Rectangle 12">
            <a:extLst>
              <a:ext uri="{FF2B5EF4-FFF2-40B4-BE49-F238E27FC236}">
                <a16:creationId xmlns:a16="http://schemas.microsoft.com/office/drawing/2014/main" xmlns="" id="{A3EF4FA3-21DD-4CD6-942B-99107D897C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3468" y="3068712"/>
            <a:ext cx="615950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reload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" name="Rectangle 13">
            <a:extLst>
              <a:ext uri="{FF2B5EF4-FFF2-40B4-BE49-F238E27FC236}">
                <a16:creationId xmlns:a16="http://schemas.microsoft.com/office/drawing/2014/main" xmlns="" id="{E465376A-E8A2-4BB9-8ABF-7207B760BD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3468" y="3981525"/>
            <a:ext cx="623888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restar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Rectangle 14">
            <a:extLst>
              <a:ext uri="{FF2B5EF4-FFF2-40B4-BE49-F238E27FC236}">
                <a16:creationId xmlns:a16="http://schemas.microsoft.com/office/drawing/2014/main" xmlns="" id="{B04C523B-BA9F-4C43-9301-6E3414192A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77543" y="1012900"/>
            <a:ext cx="2855913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Start (activate) one or more unit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" name="Rectangle 15">
            <a:extLst>
              <a:ext uri="{FF2B5EF4-FFF2-40B4-BE49-F238E27FC236}">
                <a16:creationId xmlns:a16="http://schemas.microsoft.com/office/drawing/2014/main" xmlns="" id="{D7D0328D-F191-4B12-8812-1951D2BF03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77543" y="1470100"/>
            <a:ext cx="242888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#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" name="Rectangle 16">
            <a:extLst>
              <a:ext uri="{FF2B5EF4-FFF2-40B4-BE49-F238E27FC236}">
                <a16:creationId xmlns:a16="http://schemas.microsoft.com/office/drawing/2014/main" xmlns="" id="{24269EEC-5CBF-4C24-BBC9-C343B569A2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25181" y="1470100"/>
            <a:ext cx="873125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systemctl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" name="Rectangle 17">
            <a:extLst>
              <a:ext uri="{FF2B5EF4-FFF2-40B4-BE49-F238E27FC236}">
                <a16:creationId xmlns:a16="http://schemas.microsoft.com/office/drawing/2014/main" xmlns="" id="{F4C969A3-599A-49AD-AC05-6B935F0520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14168" y="1470100"/>
            <a:ext cx="506413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start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" name="Rectangle 18">
            <a:extLst>
              <a:ext uri="{FF2B5EF4-FFF2-40B4-BE49-F238E27FC236}">
                <a16:creationId xmlns:a16="http://schemas.microsoft.com/office/drawing/2014/main" xmlns="" id="{670954EB-7252-482F-A859-5C50DBD3E6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07868" y="1470100"/>
            <a:ext cx="1504950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sendmail.servic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3" name="Rectangle 19">
            <a:extLst>
              <a:ext uri="{FF2B5EF4-FFF2-40B4-BE49-F238E27FC236}">
                <a16:creationId xmlns:a16="http://schemas.microsoft.com/office/drawing/2014/main" xmlns="" id="{F2F6E053-24ED-4AC1-876D-70F7E0AC5C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77543" y="1927300"/>
            <a:ext cx="2900363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Stop (deactivate) one or ore unit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" name="Rectangle 20">
            <a:extLst>
              <a:ext uri="{FF2B5EF4-FFF2-40B4-BE49-F238E27FC236}">
                <a16:creationId xmlns:a16="http://schemas.microsoft.com/office/drawing/2014/main" xmlns="" id="{861DE60D-A14F-4A2D-A3C1-27D357D108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77543" y="2382912"/>
            <a:ext cx="242888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#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" name="Rectangle 21">
            <a:extLst>
              <a:ext uri="{FF2B5EF4-FFF2-40B4-BE49-F238E27FC236}">
                <a16:creationId xmlns:a16="http://schemas.microsoft.com/office/drawing/2014/main" xmlns="" id="{85B7D4D4-F89B-4097-8293-EA5C747A07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25181" y="2382912"/>
            <a:ext cx="873125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systemctl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" name="Rectangle 22">
            <a:extLst>
              <a:ext uri="{FF2B5EF4-FFF2-40B4-BE49-F238E27FC236}">
                <a16:creationId xmlns:a16="http://schemas.microsoft.com/office/drawing/2014/main" xmlns="" id="{C31D11A1-E0CA-483B-8602-959052A75D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14168" y="2382912"/>
            <a:ext cx="498475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stop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" name="Rectangle 23">
            <a:extLst>
              <a:ext uri="{FF2B5EF4-FFF2-40B4-BE49-F238E27FC236}">
                <a16:creationId xmlns:a16="http://schemas.microsoft.com/office/drawing/2014/main" xmlns="" id="{49DC8D5E-FF5B-4024-94A4-CCBC71E468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98343" y="2382912"/>
            <a:ext cx="1504950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sendmail.servic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" name="Rectangle 24">
            <a:extLst>
              <a:ext uri="{FF2B5EF4-FFF2-40B4-BE49-F238E27FC236}">
                <a16:creationId xmlns:a16="http://schemas.microsoft.com/office/drawing/2014/main" xmlns="" id="{6B886F02-081E-4136-BDE7-E1BE842DE0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77543" y="2840112"/>
            <a:ext cx="2227263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Reload one or more unit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9" name="Rectangle 25">
            <a:extLst>
              <a:ext uri="{FF2B5EF4-FFF2-40B4-BE49-F238E27FC236}">
                <a16:creationId xmlns:a16="http://schemas.microsoft.com/office/drawing/2014/main" xmlns="" id="{7B6B7A6D-EA48-4E98-9944-7FDE45A5AB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77543" y="3295725"/>
            <a:ext cx="242888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#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0" name="Rectangle 26">
            <a:extLst>
              <a:ext uri="{FF2B5EF4-FFF2-40B4-BE49-F238E27FC236}">
                <a16:creationId xmlns:a16="http://schemas.microsoft.com/office/drawing/2014/main" xmlns="" id="{6749E582-6F36-4ADC-B191-D770FD46FD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25181" y="3295725"/>
            <a:ext cx="873125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systemctl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1" name="Rectangle 27">
            <a:extLst>
              <a:ext uri="{FF2B5EF4-FFF2-40B4-BE49-F238E27FC236}">
                <a16:creationId xmlns:a16="http://schemas.microsoft.com/office/drawing/2014/main" xmlns="" id="{0721F9E3-1C21-45CA-A672-7E129BCE7F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14168" y="3295725"/>
            <a:ext cx="668338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reload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2" name="Rectangle 28">
            <a:extLst>
              <a:ext uri="{FF2B5EF4-FFF2-40B4-BE49-F238E27FC236}">
                <a16:creationId xmlns:a16="http://schemas.microsoft.com/office/drawing/2014/main" xmlns="" id="{A007F71C-8314-48ED-A251-DCA225051E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55506" y="3295725"/>
            <a:ext cx="1504950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sendmial.servic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3" name="Rectangle 29">
            <a:extLst>
              <a:ext uri="{FF2B5EF4-FFF2-40B4-BE49-F238E27FC236}">
                <a16:creationId xmlns:a16="http://schemas.microsoft.com/office/drawing/2014/main" xmlns="" id="{29E7040C-C44F-47C0-9FA1-B62552643B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77543" y="3752925"/>
            <a:ext cx="538163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Start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4" name="Rectangle 30">
            <a:extLst>
              <a:ext uri="{FF2B5EF4-FFF2-40B4-BE49-F238E27FC236}">
                <a16:creationId xmlns:a16="http://schemas.microsoft.com/office/drawing/2014/main" xmlns="" id="{4B6938CE-50BE-4B60-B691-D4A293FCED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01406" y="3752925"/>
            <a:ext cx="242888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o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5" name="Rectangle 31">
            <a:extLst>
              <a:ext uri="{FF2B5EF4-FFF2-40B4-BE49-F238E27FC236}">
                <a16:creationId xmlns:a16="http://schemas.microsoft.com/office/drawing/2014/main" xmlns="" id="{DA3758D6-D7FE-4BD8-A072-84AEE9ECB9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98256" y="3752925"/>
            <a:ext cx="2160588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restart one or more unit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4" name="Rectangle 32">
            <a:extLst>
              <a:ext uri="{FF2B5EF4-FFF2-40B4-BE49-F238E27FC236}">
                <a16:creationId xmlns:a16="http://schemas.microsoft.com/office/drawing/2014/main" xmlns="" id="{66A9CA7A-1997-4D1D-9C5B-C2E6D3BA82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77543" y="4211712"/>
            <a:ext cx="225425" cy="236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#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5" name="Rectangle 33">
            <a:extLst>
              <a:ext uri="{FF2B5EF4-FFF2-40B4-BE49-F238E27FC236}">
                <a16:creationId xmlns:a16="http://schemas.microsoft.com/office/drawing/2014/main" xmlns="" id="{7F6B74A2-D293-4F67-B784-716B1FB812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25181" y="4211712"/>
            <a:ext cx="815975" cy="236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systemctl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" name="Rectangle 34">
            <a:extLst>
              <a:ext uri="{FF2B5EF4-FFF2-40B4-BE49-F238E27FC236}">
                <a16:creationId xmlns:a16="http://schemas.microsoft.com/office/drawing/2014/main" xmlns="" id="{DDDC02FE-7CE4-4CC6-BAE6-C2FE3AEEA5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14168" y="4211712"/>
            <a:ext cx="628650" cy="236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restart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7" name="Rectangle 35">
            <a:extLst>
              <a:ext uri="{FF2B5EF4-FFF2-40B4-BE49-F238E27FC236}">
                <a16:creationId xmlns:a16="http://schemas.microsoft.com/office/drawing/2014/main" xmlns="" id="{215283D9-91D8-4C75-9D32-BAEE21BD53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65031" y="4211712"/>
            <a:ext cx="1400175" cy="236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sendmail.servic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69920009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 animBg="1"/>
      <p:bldP spid="19" grpId="0" animBg="1"/>
      <p:bldP spid="20" grpId="0" animBg="1"/>
      <p:bldP spid="21" grpId="0" animBg="1"/>
      <p:bldP spid="22" grpId="0" animBg="1"/>
      <p:bldP spid="23" grpId="0"/>
      <p:bldP spid="25" grpId="0"/>
      <p:bldP spid="26" grpId="0"/>
      <p:bldP spid="27" grpId="0"/>
      <p:bldP spid="28" grpId="0"/>
      <p:bldP spid="29" grpId="0"/>
      <p:bldP spid="30" grpId="0"/>
      <p:bldP spid="31" grpId="0"/>
      <p:bldP spid="32" grpId="0"/>
      <p:bldP spid="33" grpId="0"/>
      <p:bldP spid="34" grpId="0"/>
      <p:bldP spid="35" grpId="0"/>
      <p:bldP spid="36" grpId="0"/>
      <p:bldP spid="37" grpId="0"/>
      <p:bldP spid="38" grpId="0"/>
      <p:bldP spid="39" grpId="0"/>
      <p:bldP spid="40" grpId="0"/>
      <p:bldP spid="41" grpId="0"/>
      <p:bldP spid="42" grpId="0"/>
      <p:bldP spid="43" grpId="0"/>
      <p:bldP spid="44" grpId="0"/>
      <p:bldP spid="45" grpId="0"/>
      <p:bldP spid="54" grpId="0"/>
      <p:bldP spid="55" grpId="0"/>
      <p:bldP spid="56" grpId="0"/>
      <p:bldP spid="57" grpId="0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8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0FC3722-8F96-43A5-A133-2ADF5CE88875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xmlns="" id="{475343A4-333F-4558-9B30-BC15AAB1A318}"/>
              </a:ext>
            </a:extLst>
          </p:cNvPr>
          <p:cNvSpPr/>
          <p:nvPr/>
        </p:nvSpPr>
        <p:spPr>
          <a:xfrm>
            <a:off x="-50782" y="1"/>
            <a:ext cx="11302409" cy="519489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xmlns="" id="{925C2EED-F692-4F64-B5C8-DBB35B8EAE13}"/>
              </a:ext>
            </a:extLst>
          </p:cNvPr>
          <p:cNvSpPr/>
          <p:nvPr/>
        </p:nvSpPr>
        <p:spPr>
          <a:xfrm>
            <a:off x="-55546" y="66454"/>
            <a:ext cx="11251630" cy="507704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xmlns="" id="{BE6E1CF5-59DA-43AB-9866-0328CF12083B}"/>
              </a:ext>
            </a:extLst>
          </p:cNvPr>
          <p:cNvSpPr/>
          <p:nvPr/>
        </p:nvSpPr>
        <p:spPr>
          <a:xfrm>
            <a:off x="-3" y="127067"/>
            <a:ext cx="11111023" cy="4949979"/>
          </a:xfrm>
          <a:prstGeom prst="homePlat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xmlns="" id="{5386A08B-7D7F-47E3-92B0-DE14688643F9}"/>
              </a:ext>
            </a:extLst>
          </p:cNvPr>
          <p:cNvSpPr/>
          <p:nvPr/>
        </p:nvSpPr>
        <p:spPr>
          <a:xfrm>
            <a:off x="-74428" y="152763"/>
            <a:ext cx="11129905" cy="4889366"/>
          </a:xfrm>
          <a:prstGeom prst="homePlat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lang="en-US" dirty="0">
              <a:solidFill>
                <a:schemeClr val="accent4"/>
              </a:solidFill>
              <a:latin typeface="Segoe UI Semibold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Segoe UI Semibold"/>
                <a:ea typeface="+mn-ea"/>
                <a:cs typeface="+mn-cs"/>
                <a:sym typeface="Arial"/>
              </a:rPr>
              <a:t>	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/>
                <a:ea typeface="+mn-ea"/>
                <a:cs typeface="+mn-cs"/>
                <a:sym typeface="Arial"/>
              </a:rPr>
              <a:t>COMMAN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lang="en-US" dirty="0">
              <a:solidFill>
                <a:schemeClr val="tx1"/>
              </a:solidFill>
              <a:latin typeface="Segoe UI Semibold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lang="en-US" dirty="0">
              <a:solidFill>
                <a:schemeClr val="tx1"/>
              </a:solidFill>
              <a:latin typeface="Segoe UI Semibold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lang="en-US" dirty="0">
              <a:solidFill>
                <a:schemeClr val="tx1"/>
              </a:solidFill>
              <a:latin typeface="Segoe UI Semibold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lang="en-US" dirty="0">
              <a:solidFill>
                <a:schemeClr val="tx1"/>
              </a:solidFill>
              <a:latin typeface="Segoe UI Semibold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lang="en-US" dirty="0">
              <a:solidFill>
                <a:schemeClr val="tx1"/>
              </a:solidFill>
              <a:latin typeface="Segoe UI Semibold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lang="en-US" dirty="0">
              <a:solidFill>
                <a:schemeClr val="tx1"/>
              </a:solidFill>
              <a:latin typeface="Segoe UI Semibold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400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/>
              <a:t>	</a:t>
            </a:r>
            <a:r>
              <a:rPr lang="en-US" sz="1400" dirty="0">
                <a:solidFill>
                  <a:schemeClr val="accent4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[</a:t>
            </a:r>
            <a:r>
              <a:rPr lang="en-US" sz="1400" dirty="0" err="1">
                <a:solidFill>
                  <a:schemeClr val="accent4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root@dip</a:t>
            </a:r>
            <a:r>
              <a:rPr lang="en-US" sz="1400" dirty="0">
                <a:solidFill>
                  <a:schemeClr val="accent4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~]# </a:t>
            </a:r>
            <a:r>
              <a:rPr lang="en-US" sz="1400" dirty="0" err="1">
                <a:solidFill>
                  <a:schemeClr val="accent4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chkconfig</a:t>
            </a:r>
            <a:r>
              <a:rPr lang="en-US" sz="1400" dirty="0">
                <a:solidFill>
                  <a:schemeClr val="accent4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network on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latin typeface="Ang DaunKeo" panose="020B0503020102020204" pitchFamily="34" charset="0"/>
                <a:cs typeface="Ang DaunKeo" panose="020B0503020102020204" pitchFamily="34" charset="0"/>
              </a:rPr>
              <a:t/>
            </a:r>
            <a:br>
              <a:rPr lang="en-US" sz="1400" dirty="0">
                <a:latin typeface="Ang DaunKeo" panose="020B0503020102020204" pitchFamily="34" charset="0"/>
                <a:cs typeface="Ang DaunKeo" panose="020B0503020102020204" pitchFamily="34" charset="0"/>
              </a:rPr>
            </a:br>
            <a:r>
              <a:rPr lang="en-US" sz="1400" dirty="0">
                <a:latin typeface="Ang DaunKeo" panose="020B0503020102020204" pitchFamily="34" charset="0"/>
                <a:cs typeface="Ang DaunKeo" panose="020B0503020102020204" pitchFamily="34" charset="0"/>
              </a:rPr>
              <a:t>	 </a:t>
            </a:r>
            <a:r>
              <a:rPr lang="en-US" dirty="0"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r>
              <a:rPr lang="en-US" sz="1400" dirty="0" err="1">
                <a:latin typeface="Ang DaunKeo" panose="020B0503020102020204" pitchFamily="34" charset="0"/>
                <a:cs typeface="Ang DaunKeo" panose="020B0503020102020204" pitchFamily="34" charset="0"/>
              </a:rPr>
              <a:t>Chkconfig</a:t>
            </a:r>
            <a:r>
              <a:rPr lang="en-US" sz="1400" dirty="0">
                <a:latin typeface="Ang DaunKeo" panose="020B0503020102020204" pitchFamily="34" charset="0"/>
                <a:cs typeface="Ang DaunKeo" panose="020B0503020102020204" pitchFamily="34" charset="0"/>
              </a:rPr>
              <a:t> – updates and queries </a:t>
            </a:r>
            <a:r>
              <a:rPr lang="en-US" sz="1400" dirty="0" err="1">
                <a:latin typeface="Ang DaunKeo" panose="020B0503020102020204" pitchFamily="34" charset="0"/>
                <a:cs typeface="Ang DaunKeo" panose="020B0503020102020204" pitchFamily="34" charset="0"/>
              </a:rPr>
              <a:t>runlevel</a:t>
            </a:r>
            <a:r>
              <a:rPr lang="en-US" sz="1400" dirty="0">
                <a:latin typeface="Ang DaunKeo" panose="020B0503020102020204" pitchFamily="34" charset="0"/>
                <a:cs typeface="Ang DaunKeo" panose="020B0503020102020204" pitchFamily="34" charset="0"/>
              </a:rPr>
              <a:t> information for system services</a:t>
            </a:r>
            <a:br>
              <a:rPr lang="en-US" sz="1400" dirty="0">
                <a:latin typeface="Ang DaunKeo" panose="020B0503020102020204" pitchFamily="34" charset="0"/>
                <a:cs typeface="Ang DaunKeo" panose="020B0503020102020204" pitchFamily="34" charset="0"/>
              </a:rPr>
            </a:br>
            <a:r>
              <a:rPr lang="en-US" sz="1400" dirty="0"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endParaRPr lang="en-US" dirty="0"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latin typeface="Ang DaunKeo" panose="020B0503020102020204" pitchFamily="34" charset="0"/>
                <a:cs typeface="Ang DaunKeo" panose="020B0503020102020204" pitchFamily="34" charset="0"/>
              </a:rPr>
              <a:t>	[SYNOPSIS] </a:t>
            </a:r>
            <a:r>
              <a:rPr lang="en-US" sz="1400" dirty="0" err="1">
                <a:latin typeface="Ang DaunKeo" panose="020B0503020102020204" pitchFamily="34" charset="0"/>
                <a:cs typeface="Ang DaunKeo" panose="020B0503020102020204" pitchFamily="34" charset="0"/>
              </a:rPr>
              <a:t>chkconfig</a:t>
            </a:r>
            <a:r>
              <a:rPr lang="en-US" sz="1400" dirty="0">
                <a:latin typeface="Ang DaunKeo" panose="020B0503020102020204" pitchFamily="34" charset="0"/>
                <a:cs typeface="Ang DaunKeo" panose="020B0503020102020204" pitchFamily="34" charset="0"/>
              </a:rPr>
              <a:t> OPTION SERVICE</a:t>
            </a:r>
            <a:br>
              <a:rPr lang="en-US" sz="1400" dirty="0">
                <a:latin typeface="Ang DaunKeo" panose="020B0503020102020204" pitchFamily="34" charset="0"/>
                <a:cs typeface="Ang DaunKeo" panose="020B0503020102020204" pitchFamily="34" charset="0"/>
              </a:rPr>
            </a:br>
            <a:r>
              <a:rPr lang="en-US" sz="1400" dirty="0"/>
              <a:t/>
            </a:r>
            <a:br>
              <a:rPr lang="en-US" sz="1400" dirty="0"/>
            </a:br>
            <a:endParaRPr lang="en-US" sz="14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1A6F54B5-0441-4560-B588-51F6748A10E7}"/>
              </a:ext>
            </a:extLst>
          </p:cNvPr>
          <p:cNvSpPr/>
          <p:nvPr/>
        </p:nvSpPr>
        <p:spPr>
          <a:xfrm>
            <a:off x="853933" y="303302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E76D8363-97F8-4D84-B055-4CAB5AF1B9B9}"/>
              </a:ext>
            </a:extLst>
          </p:cNvPr>
          <p:cNvSpPr/>
          <p:nvPr/>
        </p:nvSpPr>
        <p:spPr>
          <a:xfrm>
            <a:off x="1161896" y="303302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E1E5901C-75B9-4255-B79F-AFC39A71CB5A}"/>
              </a:ext>
            </a:extLst>
          </p:cNvPr>
          <p:cNvSpPr/>
          <p:nvPr/>
        </p:nvSpPr>
        <p:spPr>
          <a:xfrm>
            <a:off x="1777821" y="303302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5B68763A-C0FE-4288-99F2-5FD3D1D6259F}"/>
              </a:ext>
            </a:extLst>
          </p:cNvPr>
          <p:cNvSpPr/>
          <p:nvPr/>
        </p:nvSpPr>
        <p:spPr>
          <a:xfrm>
            <a:off x="2085784" y="303302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36678E34-C42F-4272-A80C-040E642AF4BE}"/>
              </a:ext>
            </a:extLst>
          </p:cNvPr>
          <p:cNvSpPr/>
          <p:nvPr/>
        </p:nvSpPr>
        <p:spPr>
          <a:xfrm>
            <a:off x="2393745" y="303302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12996ED4-A971-4578-B5CD-3D91B7A50B7D}"/>
              </a:ext>
            </a:extLst>
          </p:cNvPr>
          <p:cNvSpPr/>
          <p:nvPr/>
        </p:nvSpPr>
        <p:spPr>
          <a:xfrm>
            <a:off x="1469859" y="303302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xmlns="" id="{F4FC888B-7FCA-46F6-B3EA-F5E5A44DE1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03568" y="250851"/>
            <a:ext cx="1025765" cy="301519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xmlns="" id="{3AF8591F-F851-4C72-BCB4-63E779F403D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8170626" y="213443"/>
            <a:ext cx="387695" cy="395497"/>
          </a:xfrm>
          <a:prstGeom prst="rect">
            <a:avLst/>
          </a:prstGeom>
        </p:spPr>
      </p:pic>
      <p:sp>
        <p:nvSpPr>
          <p:cNvPr id="17" name="AutoShape 3">
            <a:extLst>
              <a:ext uri="{FF2B5EF4-FFF2-40B4-BE49-F238E27FC236}">
                <a16:creationId xmlns:a16="http://schemas.microsoft.com/office/drawing/2014/main" xmlns="" id="{6B3F0D80-02B5-4C57-A02A-B62F16A96340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952242" y="958179"/>
            <a:ext cx="6977062" cy="2589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Line 5">
            <a:extLst>
              <a:ext uri="{FF2B5EF4-FFF2-40B4-BE49-F238E27FC236}">
                <a16:creationId xmlns:a16="http://schemas.microsoft.com/office/drawing/2014/main" xmlns="" id="{3A8116E4-62B1-4BAF-AAA6-886D838656F7}"/>
              </a:ext>
            </a:extLst>
          </p:cNvPr>
          <p:cNvSpPr>
            <a:spLocks noChangeShapeType="1"/>
          </p:cNvSpPr>
          <p:nvPr/>
        </p:nvSpPr>
        <p:spPr bwMode="auto">
          <a:xfrm>
            <a:off x="1958717" y="1007391"/>
            <a:ext cx="0" cy="2438400"/>
          </a:xfrm>
          <a:prstGeom prst="line">
            <a:avLst/>
          </a:prstGeom>
          <a:noFill/>
          <a:ln w="9525" cap="flat">
            <a:solidFill>
              <a:srgbClr val="9E9E9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Line 6">
            <a:extLst>
              <a:ext uri="{FF2B5EF4-FFF2-40B4-BE49-F238E27FC236}">
                <a16:creationId xmlns:a16="http://schemas.microsoft.com/office/drawing/2014/main" xmlns="" id="{C93BFB6F-8115-4DD5-9F00-CB15EDEF91F2}"/>
              </a:ext>
            </a:extLst>
          </p:cNvPr>
          <p:cNvSpPr>
            <a:spLocks noChangeShapeType="1"/>
          </p:cNvSpPr>
          <p:nvPr/>
        </p:nvSpPr>
        <p:spPr bwMode="auto">
          <a:xfrm>
            <a:off x="952242" y="2767929"/>
            <a:ext cx="6972300" cy="0"/>
          </a:xfrm>
          <a:prstGeom prst="line">
            <a:avLst/>
          </a:prstGeom>
          <a:noFill/>
          <a:ln w="9525" cap="flat">
            <a:solidFill>
              <a:srgbClr val="9E9E9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Line 7">
            <a:extLst>
              <a:ext uri="{FF2B5EF4-FFF2-40B4-BE49-F238E27FC236}">
                <a16:creationId xmlns:a16="http://schemas.microsoft.com/office/drawing/2014/main" xmlns="" id="{CBC2D7D1-F95B-4663-A82B-93EFE5220E22}"/>
              </a:ext>
            </a:extLst>
          </p:cNvPr>
          <p:cNvSpPr>
            <a:spLocks noChangeShapeType="1"/>
          </p:cNvSpPr>
          <p:nvPr/>
        </p:nvSpPr>
        <p:spPr bwMode="auto">
          <a:xfrm>
            <a:off x="957004" y="1007391"/>
            <a:ext cx="0" cy="2438400"/>
          </a:xfrm>
          <a:prstGeom prst="line">
            <a:avLst/>
          </a:prstGeom>
          <a:noFill/>
          <a:ln w="9525" cap="flat">
            <a:solidFill>
              <a:srgbClr val="9E9E9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Line 8">
            <a:extLst>
              <a:ext uri="{FF2B5EF4-FFF2-40B4-BE49-F238E27FC236}">
                <a16:creationId xmlns:a16="http://schemas.microsoft.com/office/drawing/2014/main" xmlns="" id="{0EFD19F5-B921-4BF3-B648-0F5275F428D7}"/>
              </a:ext>
            </a:extLst>
          </p:cNvPr>
          <p:cNvSpPr>
            <a:spLocks noChangeShapeType="1"/>
          </p:cNvSpPr>
          <p:nvPr/>
        </p:nvSpPr>
        <p:spPr bwMode="auto">
          <a:xfrm>
            <a:off x="7919779" y="1007391"/>
            <a:ext cx="0" cy="2438400"/>
          </a:xfrm>
          <a:prstGeom prst="line">
            <a:avLst/>
          </a:prstGeom>
          <a:noFill/>
          <a:ln w="9525" cap="flat">
            <a:solidFill>
              <a:srgbClr val="9E9E9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Line 9">
            <a:extLst>
              <a:ext uri="{FF2B5EF4-FFF2-40B4-BE49-F238E27FC236}">
                <a16:creationId xmlns:a16="http://schemas.microsoft.com/office/drawing/2014/main" xmlns="" id="{75B9389A-4A80-4003-A981-75136BE64FAA}"/>
              </a:ext>
            </a:extLst>
          </p:cNvPr>
          <p:cNvSpPr>
            <a:spLocks noChangeShapeType="1"/>
          </p:cNvSpPr>
          <p:nvPr/>
        </p:nvSpPr>
        <p:spPr bwMode="auto">
          <a:xfrm>
            <a:off x="952242" y="1012154"/>
            <a:ext cx="6972300" cy="0"/>
          </a:xfrm>
          <a:prstGeom prst="line">
            <a:avLst/>
          </a:prstGeom>
          <a:noFill/>
          <a:ln w="9525" cap="flat">
            <a:solidFill>
              <a:srgbClr val="9E9E9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xmlns="" id="{3E9DFC83-3CFB-4FAA-838E-333C3EA7F2FC}"/>
              </a:ext>
            </a:extLst>
          </p:cNvPr>
          <p:cNvSpPr>
            <a:spLocks noChangeShapeType="1"/>
          </p:cNvSpPr>
          <p:nvPr/>
        </p:nvSpPr>
        <p:spPr bwMode="auto">
          <a:xfrm>
            <a:off x="952242" y="3441029"/>
            <a:ext cx="6972300" cy="0"/>
          </a:xfrm>
          <a:prstGeom prst="line">
            <a:avLst/>
          </a:prstGeom>
          <a:noFill/>
          <a:ln w="9525" cap="flat">
            <a:solidFill>
              <a:srgbClr val="9E9E9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Rectangle 11">
            <a:extLst>
              <a:ext uri="{FF2B5EF4-FFF2-40B4-BE49-F238E27FC236}">
                <a16:creationId xmlns:a16="http://schemas.microsoft.com/office/drawing/2014/main" xmlns="" id="{B84A8D1D-E0C3-4DFA-8E2E-E270C6991B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3517" y="1234404"/>
            <a:ext cx="654050" cy="319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109"/>
                <a:cs typeface="109"/>
              </a:rPr>
              <a:t>statu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" name="Rectangle 12">
            <a:extLst>
              <a:ext uri="{FF2B5EF4-FFF2-40B4-BE49-F238E27FC236}">
                <a16:creationId xmlns:a16="http://schemas.microsoft.com/office/drawing/2014/main" xmlns="" id="{E9B8A55A-0274-487F-8F51-D58BB6DF35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3517" y="2147216"/>
            <a:ext cx="700087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109"/>
                <a:cs typeface="109"/>
              </a:rPr>
              <a:t>Enabl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" name="Rectangle 13">
            <a:extLst>
              <a:ext uri="{FF2B5EF4-FFF2-40B4-BE49-F238E27FC236}">
                <a16:creationId xmlns:a16="http://schemas.microsoft.com/office/drawing/2014/main" xmlns="" id="{753EDAD9-1A5F-474D-8F8D-70F05B2BD7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93642" y="1005804"/>
            <a:ext cx="3648075" cy="319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109"/>
                <a:cs typeface="109"/>
              </a:rPr>
              <a:t>Show runtime status of one or more unit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Rectangle 14">
            <a:extLst>
              <a:ext uri="{FF2B5EF4-FFF2-40B4-BE49-F238E27FC236}">
                <a16:creationId xmlns:a16="http://schemas.microsoft.com/office/drawing/2014/main" xmlns="" id="{ED939B86-1B0A-440D-85F1-A81BBBA5B9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93642" y="1463004"/>
            <a:ext cx="292100" cy="319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109"/>
                <a:cs typeface="109"/>
              </a:rPr>
              <a:t>#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" name="Rectangle 15">
            <a:extLst>
              <a:ext uri="{FF2B5EF4-FFF2-40B4-BE49-F238E27FC236}">
                <a16:creationId xmlns:a16="http://schemas.microsoft.com/office/drawing/2014/main" xmlns="" id="{168D127E-7312-4E20-A1DA-5AE22BEDFD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77792" y="1463004"/>
            <a:ext cx="963612" cy="319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109"/>
                <a:cs typeface="109"/>
              </a:rPr>
              <a:t>systemctl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" name="Rectangle 16">
            <a:extLst>
              <a:ext uri="{FF2B5EF4-FFF2-40B4-BE49-F238E27FC236}">
                <a16:creationId xmlns:a16="http://schemas.microsoft.com/office/drawing/2014/main" xmlns="" id="{F387A2D2-F048-48E8-A417-A19A89A738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76317" y="1463004"/>
            <a:ext cx="695325" cy="319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109"/>
                <a:cs typeface="109"/>
              </a:rPr>
              <a:t>status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" name="Rectangle 17">
            <a:extLst>
              <a:ext uri="{FF2B5EF4-FFF2-40B4-BE49-F238E27FC236}">
                <a16:creationId xmlns:a16="http://schemas.microsoft.com/office/drawing/2014/main" xmlns="" id="{C5245C56-0BDB-48AD-B4A7-2629DDBEBC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66867" y="1463004"/>
            <a:ext cx="1570037" cy="319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109"/>
                <a:cs typeface="109"/>
              </a:rPr>
              <a:t>sendmail.servic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" name="Rectangle 18">
            <a:extLst>
              <a:ext uri="{FF2B5EF4-FFF2-40B4-BE49-F238E27FC236}">
                <a16:creationId xmlns:a16="http://schemas.microsoft.com/office/drawing/2014/main" xmlns="" id="{BB65C7EC-6756-4160-841E-CD57552772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93642" y="1920204"/>
            <a:ext cx="2638425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109"/>
                <a:cs typeface="109"/>
              </a:rPr>
              <a:t>Enable one or more units fil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3" name="Rectangle 19">
            <a:extLst>
              <a:ext uri="{FF2B5EF4-FFF2-40B4-BE49-F238E27FC236}">
                <a16:creationId xmlns:a16="http://schemas.microsoft.com/office/drawing/2014/main" xmlns="" id="{A81BE850-DCB3-45DD-A3EB-D8B452A106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93642" y="2375816"/>
            <a:ext cx="2921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109"/>
                <a:cs typeface="109"/>
              </a:rPr>
              <a:t>#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" name="Rectangle 20">
            <a:extLst>
              <a:ext uri="{FF2B5EF4-FFF2-40B4-BE49-F238E27FC236}">
                <a16:creationId xmlns:a16="http://schemas.microsoft.com/office/drawing/2014/main" xmlns="" id="{AEE5FBDD-DC0E-4F44-923B-C4B0AD3559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77792" y="2375816"/>
            <a:ext cx="963612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109"/>
                <a:cs typeface="109"/>
              </a:rPr>
              <a:t>systemctl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" name="Rectangle 21">
            <a:extLst>
              <a:ext uri="{FF2B5EF4-FFF2-40B4-BE49-F238E27FC236}">
                <a16:creationId xmlns:a16="http://schemas.microsoft.com/office/drawing/2014/main" xmlns="" id="{42492C9D-96F4-4952-9B3F-D620C100F5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76317" y="2375816"/>
            <a:ext cx="7366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109"/>
                <a:cs typeface="109"/>
              </a:rPr>
              <a:t>enable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" name="Rectangle 22">
            <a:extLst>
              <a:ext uri="{FF2B5EF4-FFF2-40B4-BE49-F238E27FC236}">
                <a16:creationId xmlns:a16="http://schemas.microsoft.com/office/drawing/2014/main" xmlns="" id="{25018FE5-A7AE-49EE-9F77-2DFEB8D001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09729" y="2375816"/>
            <a:ext cx="1570037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109"/>
                <a:cs typeface="109"/>
              </a:rPr>
              <a:t>sendmail.servic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" name="Rectangle 23">
            <a:extLst>
              <a:ext uri="{FF2B5EF4-FFF2-40B4-BE49-F238E27FC236}">
                <a16:creationId xmlns:a16="http://schemas.microsoft.com/office/drawing/2014/main" xmlns="" id="{3D98A5A4-6CB7-408B-8816-0D309CD338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3517" y="2988591"/>
            <a:ext cx="808037" cy="341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109"/>
                <a:cs typeface="109"/>
              </a:rPr>
              <a:t>Disabl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" name="Rectangle 24">
            <a:extLst>
              <a:ext uri="{FF2B5EF4-FFF2-40B4-BE49-F238E27FC236}">
                <a16:creationId xmlns:a16="http://schemas.microsoft.com/office/drawing/2014/main" xmlns="" id="{EBA65D9A-5F1D-4493-BEE9-2F4B3AB9C0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93642" y="2759991"/>
            <a:ext cx="2884487" cy="341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109"/>
                <a:cs typeface="109"/>
              </a:rPr>
              <a:t>Disable one or more units fil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9" name="Rectangle 25">
            <a:extLst>
              <a:ext uri="{FF2B5EF4-FFF2-40B4-BE49-F238E27FC236}">
                <a16:creationId xmlns:a16="http://schemas.microsoft.com/office/drawing/2014/main" xmlns="" id="{02372106-3024-443C-B18E-4B05C4AF01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93642" y="3217191"/>
            <a:ext cx="31115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109"/>
                <a:cs typeface="109"/>
              </a:rPr>
              <a:t>#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0" name="Rectangle 26">
            <a:extLst>
              <a:ext uri="{FF2B5EF4-FFF2-40B4-BE49-F238E27FC236}">
                <a16:creationId xmlns:a16="http://schemas.microsoft.com/office/drawing/2014/main" xmlns="" id="{02F4CEA4-5ABB-47EF-A9FF-AE78B230D3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77792" y="3217191"/>
            <a:ext cx="1031875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109"/>
                <a:cs typeface="109"/>
              </a:rPr>
              <a:t>systemctl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1" name="Rectangle 27">
            <a:extLst>
              <a:ext uri="{FF2B5EF4-FFF2-40B4-BE49-F238E27FC236}">
                <a16:creationId xmlns:a16="http://schemas.microsoft.com/office/drawing/2014/main" xmlns="" id="{6440C5E3-7EF3-49B6-B1EA-EC989A38F3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76317" y="3217191"/>
            <a:ext cx="8382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109"/>
                <a:cs typeface="109"/>
              </a:rPr>
              <a:t>disable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2" name="Rectangle 28">
            <a:extLst>
              <a:ext uri="{FF2B5EF4-FFF2-40B4-BE49-F238E27FC236}">
                <a16:creationId xmlns:a16="http://schemas.microsoft.com/office/drawing/2014/main" xmlns="" id="{E2876C04-5F67-48C4-A067-A61B624322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54179" y="3217191"/>
            <a:ext cx="1681162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109"/>
                <a:cs typeface="109"/>
              </a:rPr>
              <a:t>sendmail.servic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405898821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5" grpId="0"/>
      <p:bldP spid="26" grpId="0"/>
      <p:bldP spid="27" grpId="0"/>
      <p:bldP spid="28" grpId="0"/>
      <p:bldP spid="29" grpId="0"/>
      <p:bldP spid="30" grpId="0"/>
      <p:bldP spid="31" grpId="0"/>
      <p:bldP spid="32" grpId="0"/>
      <p:bldP spid="33" grpId="0"/>
      <p:bldP spid="34" grpId="0"/>
      <p:bldP spid="35" grpId="0"/>
      <p:bldP spid="36" grpId="0"/>
      <p:bldP spid="37" grpId="0"/>
      <p:bldP spid="38" grpId="0"/>
      <p:bldP spid="39" grpId="0"/>
      <p:bldP spid="40" grpId="0"/>
      <p:bldP spid="41" grpId="0"/>
      <p:bldP spid="42" grpId="0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2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0FC3722-8F96-43A5-A133-2ADF5CE88875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xmlns="" id="{475343A4-333F-4558-9B30-BC15AAB1A318}"/>
              </a:ext>
            </a:extLst>
          </p:cNvPr>
          <p:cNvSpPr/>
          <p:nvPr/>
        </p:nvSpPr>
        <p:spPr>
          <a:xfrm>
            <a:off x="-50782" y="1"/>
            <a:ext cx="11302409" cy="519489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xmlns="" id="{925C2EED-F692-4F64-B5C8-DBB35B8EAE13}"/>
              </a:ext>
            </a:extLst>
          </p:cNvPr>
          <p:cNvSpPr/>
          <p:nvPr/>
        </p:nvSpPr>
        <p:spPr>
          <a:xfrm>
            <a:off x="-55546" y="66454"/>
            <a:ext cx="11251630" cy="507704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xmlns="" id="{BE6E1CF5-59DA-43AB-9866-0328CF12083B}"/>
              </a:ext>
            </a:extLst>
          </p:cNvPr>
          <p:cNvSpPr/>
          <p:nvPr/>
        </p:nvSpPr>
        <p:spPr>
          <a:xfrm>
            <a:off x="-3" y="127067"/>
            <a:ext cx="11111023" cy="4949979"/>
          </a:xfrm>
          <a:prstGeom prst="homePlat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xmlns="" id="{5386A08B-7D7F-47E3-92B0-DE14688643F9}"/>
              </a:ext>
            </a:extLst>
          </p:cNvPr>
          <p:cNvSpPr/>
          <p:nvPr/>
        </p:nvSpPr>
        <p:spPr>
          <a:xfrm>
            <a:off x="-74428" y="152763"/>
            <a:ext cx="11129905" cy="4889366"/>
          </a:xfrm>
          <a:prstGeom prst="homePlat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defRPr/>
            </a:pPr>
            <a:endParaRPr lang="en-US" sz="1400" dirty="0"/>
          </a:p>
          <a:p>
            <a:pPr>
              <a:defRPr/>
            </a:pPr>
            <a:r>
              <a:rPr lang="en-US" dirty="0"/>
              <a:t>	</a:t>
            </a:r>
          </a:p>
          <a:p>
            <a:pPr>
              <a:defRPr/>
            </a:pPr>
            <a:r>
              <a:rPr lang="en-US" dirty="0"/>
              <a:t>	</a:t>
            </a:r>
            <a:r>
              <a:rPr lang="en-US" sz="1400" dirty="0"/>
              <a:t>Op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lang="en-US" dirty="0">
              <a:solidFill>
                <a:schemeClr val="accent4"/>
              </a:solidFill>
              <a:latin typeface="Segoe UI Semibold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lang="en-US" dirty="0">
              <a:solidFill>
                <a:schemeClr val="accent4"/>
              </a:solidFill>
              <a:latin typeface="Segoe UI Semibold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lang="en-US" dirty="0">
              <a:solidFill>
                <a:schemeClr val="accent4"/>
              </a:solidFill>
              <a:latin typeface="Segoe UI Semibold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dirty="0">
                <a:solidFill>
                  <a:schemeClr val="tx1"/>
                </a:solidFill>
                <a:latin typeface="Segoe UI Semibold"/>
              </a:rPr>
              <a:t>	[</a:t>
            </a:r>
            <a:r>
              <a:rPr lang="en-US" dirty="0" err="1">
                <a:solidFill>
                  <a:schemeClr val="tx1"/>
                </a:solidFill>
                <a:latin typeface="Segoe UI Semibold"/>
              </a:rPr>
              <a:t>root@dip</a:t>
            </a:r>
            <a:r>
              <a:rPr lang="en-US" dirty="0">
                <a:solidFill>
                  <a:schemeClr val="tx1"/>
                </a:solidFill>
                <a:latin typeface="Segoe UI Semibold"/>
              </a:rPr>
              <a:t> ~]#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dirty="0">
                <a:solidFill>
                  <a:schemeClr val="tx1"/>
                </a:solidFill>
                <a:latin typeface="Segoe UI Semibold"/>
              </a:rPr>
              <a:t/>
            </a:r>
            <a:br>
              <a:rPr lang="en-US" dirty="0">
                <a:solidFill>
                  <a:schemeClr val="tx1"/>
                </a:solidFill>
                <a:latin typeface="Segoe UI Semibold"/>
              </a:rPr>
            </a:br>
            <a:r>
              <a:rPr lang="en-US" dirty="0">
                <a:solidFill>
                  <a:schemeClr val="tx1"/>
                </a:solidFill>
                <a:latin typeface="Segoe UI Semibold"/>
              </a:rPr>
              <a:t>		[</a:t>
            </a:r>
            <a:r>
              <a:rPr lang="en-US" dirty="0" err="1">
                <a:solidFill>
                  <a:schemeClr val="tx1"/>
                </a:solidFill>
                <a:latin typeface="Segoe UI Semibold"/>
              </a:rPr>
              <a:t>root@dip</a:t>
            </a:r>
            <a:r>
              <a:rPr lang="en-US" dirty="0">
                <a:solidFill>
                  <a:schemeClr val="tx1"/>
                </a:solidFill>
                <a:latin typeface="Segoe UI Semibold"/>
              </a:rPr>
              <a:t> ~]#</a:t>
            </a:r>
            <a:br>
              <a:rPr lang="en-US" dirty="0">
                <a:solidFill>
                  <a:schemeClr val="tx1"/>
                </a:solidFill>
                <a:latin typeface="Segoe UI Semibold"/>
              </a:rPr>
            </a:br>
            <a:r>
              <a:rPr lang="en-US" dirty="0">
                <a:solidFill>
                  <a:schemeClr val="tx1"/>
                </a:solidFill>
                <a:latin typeface="Segoe UI Semibold"/>
              </a:rPr>
              <a:t>		ifconfig – configure a network interfa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dirty="0">
                <a:solidFill>
                  <a:schemeClr val="tx1"/>
                </a:solidFill>
                <a:latin typeface="Segoe UI Semibold"/>
              </a:rPr>
              <a:t/>
            </a:r>
            <a:br>
              <a:rPr lang="en-US" dirty="0">
                <a:solidFill>
                  <a:schemeClr val="tx1"/>
                </a:solidFill>
                <a:latin typeface="Segoe UI Semibold"/>
              </a:rPr>
            </a:br>
            <a:r>
              <a:rPr lang="en-US" dirty="0">
                <a:solidFill>
                  <a:schemeClr val="tx1"/>
                </a:solidFill>
                <a:latin typeface="Segoe UI Semibold"/>
              </a:rPr>
              <a:t>	[SYNOPSIS] ifconfig INTERFACE ADDRES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dirty="0">
                <a:solidFill>
                  <a:schemeClr val="tx1"/>
                </a:solidFill>
                <a:latin typeface="Segoe UI Semibold"/>
              </a:rPr>
              <a:t/>
            </a:r>
            <a:br>
              <a:rPr lang="en-US" dirty="0">
                <a:solidFill>
                  <a:schemeClr val="tx1"/>
                </a:solidFill>
                <a:latin typeface="Segoe UI Semibold"/>
              </a:rPr>
            </a:br>
            <a:r>
              <a:rPr lang="en-US" dirty="0">
                <a:solidFill>
                  <a:schemeClr val="tx1"/>
                </a:solidFill>
                <a:latin typeface="Segoe UI Semibold"/>
              </a:rPr>
              <a:t>	ifconfig – configure a network interfa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dirty="0">
                <a:solidFill>
                  <a:schemeClr val="tx1"/>
                </a:solidFill>
                <a:latin typeface="Segoe UI Semibold"/>
              </a:rPr>
              <a:t/>
            </a:r>
            <a:br>
              <a:rPr lang="en-US" dirty="0">
                <a:solidFill>
                  <a:schemeClr val="tx1"/>
                </a:solidFill>
                <a:latin typeface="Segoe UI Semibold"/>
              </a:rPr>
            </a:br>
            <a:r>
              <a:rPr lang="en-US" dirty="0">
                <a:solidFill>
                  <a:schemeClr val="tx1"/>
                </a:solidFill>
                <a:latin typeface="Segoe UI Semibold"/>
              </a:rPr>
              <a:t>	[SYNOPSIS] ifconfig INTERFACE ADDRESS</a:t>
            </a:r>
            <a:br>
              <a:rPr lang="en-US" dirty="0">
                <a:solidFill>
                  <a:schemeClr val="tx1"/>
                </a:solidFill>
                <a:latin typeface="Segoe UI Semibold"/>
              </a:rPr>
            </a:br>
            <a:r>
              <a:rPr lang="en-US" dirty="0">
                <a:solidFill>
                  <a:schemeClr val="accent4"/>
                </a:solidFill>
                <a:latin typeface="Segoe UI Semibold"/>
              </a:rPr>
              <a:t/>
            </a:r>
            <a:br>
              <a:rPr lang="en-US" dirty="0">
                <a:solidFill>
                  <a:schemeClr val="accent4"/>
                </a:solidFill>
                <a:latin typeface="Segoe UI Semibold"/>
              </a:rPr>
            </a:br>
            <a:endParaRPr lang="en-US" dirty="0">
              <a:solidFill>
                <a:schemeClr val="accent4"/>
              </a:solidFill>
              <a:latin typeface="Segoe UI Semibold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1A6F54B5-0441-4560-B588-51F6748A10E7}"/>
              </a:ext>
            </a:extLst>
          </p:cNvPr>
          <p:cNvSpPr/>
          <p:nvPr/>
        </p:nvSpPr>
        <p:spPr>
          <a:xfrm>
            <a:off x="853933" y="303302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E76D8363-97F8-4D84-B055-4CAB5AF1B9B9}"/>
              </a:ext>
            </a:extLst>
          </p:cNvPr>
          <p:cNvSpPr/>
          <p:nvPr/>
        </p:nvSpPr>
        <p:spPr>
          <a:xfrm>
            <a:off x="1161896" y="303302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E1E5901C-75B9-4255-B79F-AFC39A71CB5A}"/>
              </a:ext>
            </a:extLst>
          </p:cNvPr>
          <p:cNvSpPr/>
          <p:nvPr/>
        </p:nvSpPr>
        <p:spPr>
          <a:xfrm>
            <a:off x="1777821" y="303302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5B68763A-C0FE-4288-99F2-5FD3D1D6259F}"/>
              </a:ext>
            </a:extLst>
          </p:cNvPr>
          <p:cNvSpPr/>
          <p:nvPr/>
        </p:nvSpPr>
        <p:spPr>
          <a:xfrm>
            <a:off x="2085784" y="303302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36678E34-C42F-4272-A80C-040E642AF4BE}"/>
              </a:ext>
            </a:extLst>
          </p:cNvPr>
          <p:cNvSpPr/>
          <p:nvPr/>
        </p:nvSpPr>
        <p:spPr>
          <a:xfrm>
            <a:off x="2393745" y="303302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12996ED4-A971-4578-B5CD-3D91B7A50B7D}"/>
              </a:ext>
            </a:extLst>
          </p:cNvPr>
          <p:cNvSpPr/>
          <p:nvPr/>
        </p:nvSpPr>
        <p:spPr>
          <a:xfrm>
            <a:off x="1469859" y="303302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xmlns="" id="{F4FC888B-7FCA-46F6-B3EA-F5E5A44DE1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03568" y="250851"/>
            <a:ext cx="1025765" cy="301519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xmlns="" id="{3AF8591F-F851-4C72-BCB4-63E779F403D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8170626" y="213443"/>
            <a:ext cx="387695" cy="395497"/>
          </a:xfrm>
          <a:prstGeom prst="rect">
            <a:avLst/>
          </a:prstGeom>
        </p:spPr>
      </p:pic>
      <p:sp>
        <p:nvSpPr>
          <p:cNvPr id="5" name="AutoShape 6">
            <a:extLst>
              <a:ext uri="{FF2B5EF4-FFF2-40B4-BE49-F238E27FC236}">
                <a16:creationId xmlns:a16="http://schemas.microsoft.com/office/drawing/2014/main" xmlns="" id="{A72FA022-7245-492C-8CC8-4E88A9E372F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952242" y="892508"/>
            <a:ext cx="8267700" cy="1366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Line 8">
            <a:extLst>
              <a:ext uri="{FF2B5EF4-FFF2-40B4-BE49-F238E27FC236}">
                <a16:creationId xmlns:a16="http://schemas.microsoft.com/office/drawing/2014/main" xmlns="" id="{139D7C15-B4EB-496C-AABB-067D3D327096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6330" y="927433"/>
            <a:ext cx="0" cy="1279525"/>
          </a:xfrm>
          <a:prstGeom prst="line">
            <a:avLst/>
          </a:prstGeom>
          <a:noFill/>
          <a:ln w="9525" cap="flat">
            <a:solidFill>
              <a:srgbClr val="9E9E9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Line 9">
            <a:extLst>
              <a:ext uri="{FF2B5EF4-FFF2-40B4-BE49-F238E27FC236}">
                <a16:creationId xmlns:a16="http://schemas.microsoft.com/office/drawing/2014/main" xmlns="" id="{FC726741-F684-46E8-8DEE-B6114A7D1C12}"/>
              </a:ext>
            </a:extLst>
          </p:cNvPr>
          <p:cNvSpPr>
            <a:spLocks noChangeShapeType="1"/>
          </p:cNvSpPr>
          <p:nvPr/>
        </p:nvSpPr>
        <p:spPr bwMode="auto">
          <a:xfrm>
            <a:off x="952242" y="1694195"/>
            <a:ext cx="8262938" cy="0"/>
          </a:xfrm>
          <a:prstGeom prst="line">
            <a:avLst/>
          </a:prstGeom>
          <a:noFill/>
          <a:ln w="9525" cap="flat">
            <a:solidFill>
              <a:srgbClr val="9E9E9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Line 10">
            <a:extLst>
              <a:ext uri="{FF2B5EF4-FFF2-40B4-BE49-F238E27FC236}">
                <a16:creationId xmlns:a16="http://schemas.microsoft.com/office/drawing/2014/main" xmlns="" id="{61778C15-F4F6-4C79-A75C-FB27F611C962}"/>
              </a:ext>
            </a:extLst>
          </p:cNvPr>
          <p:cNvSpPr>
            <a:spLocks noChangeShapeType="1"/>
          </p:cNvSpPr>
          <p:nvPr/>
        </p:nvSpPr>
        <p:spPr bwMode="auto">
          <a:xfrm>
            <a:off x="957005" y="927433"/>
            <a:ext cx="0" cy="1279525"/>
          </a:xfrm>
          <a:prstGeom prst="line">
            <a:avLst/>
          </a:prstGeom>
          <a:noFill/>
          <a:ln w="9525" cap="flat">
            <a:solidFill>
              <a:srgbClr val="9E9E9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Line 11">
            <a:extLst>
              <a:ext uri="{FF2B5EF4-FFF2-40B4-BE49-F238E27FC236}">
                <a16:creationId xmlns:a16="http://schemas.microsoft.com/office/drawing/2014/main" xmlns="" id="{9F5D3810-9E75-4D63-94B4-1CE02584E90C}"/>
              </a:ext>
            </a:extLst>
          </p:cNvPr>
          <p:cNvSpPr>
            <a:spLocks noChangeShapeType="1"/>
          </p:cNvSpPr>
          <p:nvPr/>
        </p:nvSpPr>
        <p:spPr bwMode="auto">
          <a:xfrm>
            <a:off x="9210417" y="927433"/>
            <a:ext cx="0" cy="1279525"/>
          </a:xfrm>
          <a:prstGeom prst="line">
            <a:avLst/>
          </a:prstGeom>
          <a:noFill/>
          <a:ln w="9525" cap="flat">
            <a:solidFill>
              <a:srgbClr val="9E9E9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ine 12">
            <a:extLst>
              <a:ext uri="{FF2B5EF4-FFF2-40B4-BE49-F238E27FC236}">
                <a16:creationId xmlns:a16="http://schemas.microsoft.com/office/drawing/2014/main" xmlns="" id="{ECC94EA2-DBC0-412A-8853-CB56A4B16C2E}"/>
              </a:ext>
            </a:extLst>
          </p:cNvPr>
          <p:cNvSpPr>
            <a:spLocks noChangeShapeType="1"/>
          </p:cNvSpPr>
          <p:nvPr/>
        </p:nvSpPr>
        <p:spPr bwMode="auto">
          <a:xfrm>
            <a:off x="952242" y="932195"/>
            <a:ext cx="8262938" cy="0"/>
          </a:xfrm>
          <a:prstGeom prst="line">
            <a:avLst/>
          </a:prstGeom>
          <a:noFill/>
          <a:ln w="9525" cap="flat">
            <a:solidFill>
              <a:srgbClr val="9E9E9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Line 13">
            <a:extLst>
              <a:ext uri="{FF2B5EF4-FFF2-40B4-BE49-F238E27FC236}">
                <a16:creationId xmlns:a16="http://schemas.microsoft.com/office/drawing/2014/main" xmlns="" id="{EE0E71CD-739F-4B45-98DB-506D4A842355}"/>
              </a:ext>
            </a:extLst>
          </p:cNvPr>
          <p:cNvSpPr>
            <a:spLocks noChangeShapeType="1"/>
          </p:cNvSpPr>
          <p:nvPr/>
        </p:nvSpPr>
        <p:spPr bwMode="auto">
          <a:xfrm>
            <a:off x="952242" y="2202195"/>
            <a:ext cx="8262938" cy="0"/>
          </a:xfrm>
          <a:prstGeom prst="line">
            <a:avLst/>
          </a:prstGeom>
          <a:noFill/>
          <a:ln w="9525" cap="flat">
            <a:solidFill>
              <a:srgbClr val="9E9E9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Rectangle 14">
            <a:extLst>
              <a:ext uri="{FF2B5EF4-FFF2-40B4-BE49-F238E27FC236}">
                <a16:creationId xmlns:a16="http://schemas.microsoft.com/office/drawing/2014/main" xmlns="" id="{18D73C6F-666A-4DE4-B11B-B448F34109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6855" y="1103645"/>
            <a:ext cx="198438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5F6FA"/>
                </a:solidFill>
                <a:effectLst/>
                <a:latin typeface="Ang DaunKeo" panose="020B0503020102020204" pitchFamily="34" charset="0"/>
              </a:rPr>
              <a:t>--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" name="Rectangle 15">
            <a:extLst>
              <a:ext uri="{FF2B5EF4-FFF2-40B4-BE49-F238E27FC236}">
                <a16:creationId xmlns:a16="http://schemas.microsoft.com/office/drawing/2014/main" xmlns="" id="{07D32C09-0BF2-4D6E-8B2D-75483FF586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5755" y="1103645"/>
            <a:ext cx="330200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5F6FA"/>
                </a:solidFill>
                <a:effectLst/>
                <a:latin typeface="Ang DaunKeo" panose="020B0503020102020204" pitchFamily="34" charset="0"/>
              </a:rPr>
              <a:t>lis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1" name="Rectangle 16">
            <a:extLst>
              <a:ext uri="{FF2B5EF4-FFF2-40B4-BE49-F238E27FC236}">
                <a16:creationId xmlns:a16="http://schemas.microsoft.com/office/drawing/2014/main" xmlns="" id="{DBB059C6-32B8-46D9-88BC-F09A1951D4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15867" y="989345"/>
            <a:ext cx="7108825" cy="69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strike="noStrike" cap="none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  <a:sym typeface="DM Sans"/>
              </a:rPr>
              <a:t>Option </a:t>
            </a:r>
            <a:r>
              <a:rPr lang="km-KH" sz="1400" b="0" i="0" u="none" strike="noStrike" cap="none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  <a:sym typeface="DM Sans"/>
              </a:rPr>
              <a:t>នេះបង្ហាញពី</a:t>
            </a:r>
            <a:r>
              <a:rPr lang="ca-ES" sz="1400" b="0" i="0" u="none" strike="noStrike" cap="none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  <a:sym typeface="DM Sans"/>
              </a:rPr>
              <a:t>​</a:t>
            </a:r>
            <a:r>
              <a:rPr lang="km-KH" sz="1400" b="0" i="0" u="none" strike="noStrike" cap="none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  <a:sym typeface="DM Sans"/>
              </a:rPr>
              <a:t>​</a:t>
            </a:r>
            <a:r>
              <a:rPr lang="en-US" sz="1400" b="0" i="0" u="none" strike="noStrike" cap="none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  <a:sym typeface="DM Sans"/>
              </a:rPr>
              <a:t> services </a:t>
            </a:r>
            <a:r>
              <a:rPr lang="km-KH" sz="1400" b="0" i="0" u="none" strike="noStrike" cap="none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  <a:sym typeface="DM Sans"/>
              </a:rPr>
              <a:t>ទាំងអស់ដែល</a:t>
            </a:r>
            <a:r>
              <a:rPr lang="ca-ES" sz="1400" b="0" i="0" u="none" strike="noStrike" cap="none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  <a:sym typeface="DM Sans"/>
              </a:rPr>
              <a:t> chkconfig </a:t>
            </a:r>
            <a:r>
              <a:rPr lang="km-KH" sz="1400" b="0" i="0" u="none" strike="noStrike" cap="none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  <a:sym typeface="DM Sans"/>
              </a:rPr>
              <a:t>បានដឹងអំពីវាហើយវាដំណើរ</a:t>
            </a:r>
            <a:endParaRPr lang="en-US" sz="1400" b="0" i="0" u="none" strike="noStrike" cap="none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  <a:sym typeface="DM Sans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km-KH" sz="1400" b="0" i="0" u="none" strike="noStrike" cap="none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  <a:sym typeface="DM Sans"/>
              </a:rPr>
              <a:t>ការឬបញ្ឈប់នៅក្នុង</a:t>
            </a:r>
            <a:r>
              <a:rPr lang="ca-ES" sz="1400" b="0" i="0" u="none" strike="noStrike" cap="none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  <a:sym typeface="DM Sans"/>
              </a:rPr>
              <a:t>​ </a:t>
            </a:r>
            <a:r>
              <a:rPr lang="en-US" sz="1400" b="0" i="0" u="none" strike="noStrike" cap="none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  <a:sym typeface="DM Sans"/>
              </a:rPr>
              <a:t>Runlevel</a:t>
            </a:r>
            <a:r>
              <a:rPr lang="en-US" sz="1400" b="0" i="0" u="none" strike="noStrike" cap="none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  <a:sym typeface="DM Sans"/>
              </a:rPr>
              <a:t> </a:t>
            </a:r>
            <a:r>
              <a:rPr lang="km-KH" sz="1400" b="0" i="0" u="none" strike="noStrike" cap="none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  <a:sym typeface="DM Sans"/>
              </a:rPr>
              <a:t>មួយណា</a:t>
            </a:r>
            <a:r>
              <a:rPr lang="ca-ES" sz="1400" b="0" i="0" u="none" strike="noStrike" cap="none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  <a:sym typeface="DM Sans"/>
              </a:rPr>
              <a:t>​</a:t>
            </a:r>
            <a:r>
              <a:rPr lang="km-KH" sz="1400" b="0" i="0" u="none" strike="noStrike" cap="none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  <a:sym typeface="DM Sans"/>
              </a:rPr>
              <a:t>។</a:t>
            </a:r>
            <a:r>
              <a:rPr lang="ca-ES" sz="1400" b="0" i="0" u="none" strike="noStrike" cap="none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  <a:sym typeface="DM Sans"/>
              </a:rPr>
              <a:t>​ </a:t>
            </a:r>
            <a:r>
              <a:rPr lang="km-KH" sz="1400" b="0" i="0" u="none" strike="noStrike" cap="none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  <a:sym typeface="DM Sans"/>
              </a:rPr>
              <a:t>បើបានកំណត់ឈ្មោះឲ្យវានោះវានឹងបង្ហាញពី</a:t>
            </a:r>
            <a:endParaRPr lang="en-US" sz="1400" b="0" i="0" u="none" strike="noStrike" cap="none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  <a:sym typeface="DM Sans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km-KH" sz="1400" b="0" i="0" u="none" strike="noStrike" cap="none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  <a:sym typeface="DM Sans"/>
              </a:rPr>
              <a:t>ព័ត៌មានអំពីឈ្មោះនោះរបស់</a:t>
            </a:r>
            <a:r>
              <a:rPr lang="ca-ES" sz="1400" b="0" i="0" u="none" strike="noStrike" cap="none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  <a:sym typeface="DM Sans"/>
              </a:rPr>
              <a:t> service </a:t>
            </a:r>
            <a:r>
              <a:rPr lang="km-KH" sz="1400" b="0" i="0" u="none" strike="noStrike" cap="none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  <a:sym typeface="DM Sans"/>
              </a:rPr>
              <a:t>នោះ។</a:t>
            </a:r>
            <a:endParaRPr lang="en-US" sz="1400" b="0" i="0" u="none" strike="noStrike" cap="none" dirty="0">
              <a:solidFill>
                <a:schemeClr val="tx1"/>
              </a:solidFill>
              <a:latin typeface="Ang DaunKeo" panose="020B0503020102020204" pitchFamily="34" charset="0"/>
              <a:ea typeface="Calibri" panose="020F0502020204030204" pitchFamily="34" charset="0"/>
              <a:cs typeface="Ang DaunKeo" panose="020B0503020102020204" pitchFamily="34" charset="0"/>
              <a:sym typeface="DM Sans"/>
            </a:endParaRPr>
          </a:p>
        </p:txBody>
      </p:sp>
      <p:sp>
        <p:nvSpPr>
          <p:cNvPr id="23" name="Rectangle 18">
            <a:extLst>
              <a:ext uri="{FF2B5EF4-FFF2-40B4-BE49-F238E27FC236}">
                <a16:creationId xmlns:a16="http://schemas.microsoft.com/office/drawing/2014/main" xmlns="" id="{4E67C9BE-B81D-4DBF-961D-5550BDBDA3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47780" y="871870"/>
            <a:ext cx="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1" name="Rectangle 35">
            <a:extLst>
              <a:ext uri="{FF2B5EF4-FFF2-40B4-BE49-F238E27FC236}">
                <a16:creationId xmlns:a16="http://schemas.microsoft.com/office/drawing/2014/main" xmlns="" id="{BE6609E1-F8F7-4ED3-B947-8A7A02BE0E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6855" y="1864058"/>
            <a:ext cx="198438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5F6FA"/>
                </a:solidFill>
                <a:effectLst/>
                <a:latin typeface="Ang DaunKeo" panose="020B0503020102020204" pitchFamily="34" charset="0"/>
              </a:rPr>
              <a:t>--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2" name="Rectangle 36">
            <a:extLst>
              <a:ext uri="{FF2B5EF4-FFF2-40B4-BE49-F238E27FC236}">
                <a16:creationId xmlns:a16="http://schemas.microsoft.com/office/drawing/2014/main" xmlns="" id="{BC8DE3AF-93E1-4577-AAA9-420A52C6BD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5755" y="1864058"/>
            <a:ext cx="457200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5F6FA"/>
                </a:solidFill>
                <a:effectLst/>
                <a:latin typeface="Ang DaunKeo" panose="020B0503020102020204" pitchFamily="34" charset="0"/>
              </a:rPr>
              <a:t>level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4" name="Rectangle 40">
            <a:extLst>
              <a:ext uri="{FF2B5EF4-FFF2-40B4-BE49-F238E27FC236}">
                <a16:creationId xmlns:a16="http://schemas.microsoft.com/office/drawing/2014/main" xmlns="" id="{D0E9830A-2507-49DC-870B-79E70E9178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29167" y="1635458"/>
            <a:ext cx="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8" name="Rectangle 44">
            <a:extLst>
              <a:ext uri="{FF2B5EF4-FFF2-40B4-BE49-F238E27FC236}">
                <a16:creationId xmlns:a16="http://schemas.microsoft.com/office/drawing/2014/main" xmlns="" id="{3C3C7085-C3FE-4952-91FC-5363FE7161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90467" y="1771983"/>
            <a:ext cx="5507038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km-KH" sz="1400" b="0" i="0" u="none" strike="noStrike" cap="none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  <a:sym typeface="DM Sans"/>
              </a:rPr>
              <a:t>សម្រាប់កំណត់់ពីកម្រិត</a:t>
            </a:r>
            <a:r>
              <a:rPr lang="ca-ES" sz="1400" b="0" i="0" u="none" strike="noStrike" cap="none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  <a:sym typeface="DM Sans"/>
              </a:rPr>
              <a:t> run levels </a:t>
            </a:r>
            <a:r>
              <a:rPr lang="km-KH" sz="1400" b="0" i="0" u="none" strike="noStrike" cap="none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  <a:sym typeface="DM Sans"/>
              </a:rPr>
              <a:t>ដែលវាដំណើរការ។ វាមានតម្លៃចាប់ពី ០ដល់៦។</a:t>
            </a:r>
            <a:endParaRPr lang="en-US" sz="1400" b="0" i="0" u="none" strike="noStrike" cap="none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  <a:sym typeface="DM Sans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km-KH" sz="1400" b="0" i="0" u="none" strike="noStrike" cap="none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  <a:sym typeface="DM Sans"/>
              </a:rPr>
              <a:t>ឧទាហរណ៍</a:t>
            </a:r>
            <a:r>
              <a:rPr lang="en-US" sz="1400" b="0" i="0" u="none" strike="noStrike" cap="none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  <a:sym typeface="DM Sans"/>
              </a:rPr>
              <a:t>--level 35 </a:t>
            </a:r>
            <a:r>
              <a:rPr lang="km-KH" sz="1400" b="0" i="0" u="none" strike="noStrike" cap="none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  <a:sym typeface="DM Sans"/>
              </a:rPr>
              <a:t>បានកំណត់</a:t>
            </a:r>
            <a:r>
              <a:rPr lang="en-US" sz="1400" b="0" i="0" u="none" strike="noStrike" cap="none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  <a:sym typeface="DM Sans"/>
              </a:rPr>
              <a:t> </a:t>
            </a:r>
            <a:r>
              <a:rPr lang="en-US" sz="1400" b="0" i="0" u="none" strike="noStrike" cap="none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  <a:sym typeface="DM Sans"/>
              </a:rPr>
              <a:t>runlevel</a:t>
            </a:r>
            <a:r>
              <a:rPr lang="en-US" sz="1400" b="0" i="0" u="none" strike="noStrike" cap="none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  <a:sym typeface="DM Sans"/>
              </a:rPr>
              <a:t> 3 and 5.</a:t>
            </a:r>
            <a:endParaRPr lang="en-US" sz="1400" b="0" i="0" u="none" strike="noStrike" cap="none" dirty="0">
              <a:solidFill>
                <a:schemeClr val="tx1"/>
              </a:solidFill>
              <a:latin typeface="Ang DaunKeo" panose="020B0503020102020204" pitchFamily="34" charset="0"/>
              <a:ea typeface="Calibri" panose="020F0502020204030204" pitchFamily="34" charset="0"/>
              <a:cs typeface="Ang DaunKeo" panose="020B0503020102020204" pitchFamily="34" charset="0"/>
              <a:sym typeface="DM Sans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65689064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 animBg="1"/>
      <p:bldP spid="7" grpId="0" animBg="1"/>
      <p:bldP spid="8" grpId="0" animBg="1"/>
      <p:bldP spid="9" grpId="0" animBg="1"/>
      <p:bldP spid="13" grpId="0" animBg="1"/>
      <p:bldP spid="15" grpId="0" animBg="1"/>
      <p:bldP spid="19" grpId="0"/>
      <p:bldP spid="20" grpId="0"/>
      <p:bldP spid="21" grpId="0"/>
      <p:bldP spid="23" grpId="0"/>
      <p:bldP spid="41" grpId="0"/>
      <p:bldP spid="42" grpId="0"/>
      <p:bldP spid="54" grpId="0"/>
      <p:bldP spid="58" grpId="0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6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0FC3722-8F96-43A5-A133-2ADF5CE88875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xmlns="" id="{475343A4-333F-4558-9B30-BC15AAB1A318}"/>
              </a:ext>
            </a:extLst>
          </p:cNvPr>
          <p:cNvSpPr/>
          <p:nvPr/>
        </p:nvSpPr>
        <p:spPr>
          <a:xfrm>
            <a:off x="-50782" y="1"/>
            <a:ext cx="11302409" cy="519489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xmlns="" id="{925C2EED-F692-4F64-B5C8-DBB35B8EAE13}"/>
              </a:ext>
            </a:extLst>
          </p:cNvPr>
          <p:cNvSpPr/>
          <p:nvPr/>
        </p:nvSpPr>
        <p:spPr>
          <a:xfrm>
            <a:off x="-55546" y="66454"/>
            <a:ext cx="11251630" cy="507704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xmlns="" id="{BE6E1CF5-59DA-43AB-9866-0328CF12083B}"/>
              </a:ext>
            </a:extLst>
          </p:cNvPr>
          <p:cNvSpPr/>
          <p:nvPr/>
        </p:nvSpPr>
        <p:spPr>
          <a:xfrm>
            <a:off x="-3" y="127067"/>
            <a:ext cx="11111023" cy="4949979"/>
          </a:xfrm>
          <a:prstGeom prst="homePlat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xmlns="" id="{5386A08B-7D7F-47E3-92B0-DE14688643F9}"/>
              </a:ext>
            </a:extLst>
          </p:cNvPr>
          <p:cNvSpPr/>
          <p:nvPr/>
        </p:nvSpPr>
        <p:spPr>
          <a:xfrm>
            <a:off x="-74428" y="152763"/>
            <a:ext cx="11129905" cy="4889366"/>
          </a:xfrm>
          <a:prstGeom prst="homePlat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1A6F54B5-0441-4560-B588-51F6748A10E7}"/>
              </a:ext>
            </a:extLst>
          </p:cNvPr>
          <p:cNvSpPr/>
          <p:nvPr/>
        </p:nvSpPr>
        <p:spPr>
          <a:xfrm>
            <a:off x="853933" y="303302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E76D8363-97F8-4D84-B055-4CAB5AF1B9B9}"/>
              </a:ext>
            </a:extLst>
          </p:cNvPr>
          <p:cNvSpPr/>
          <p:nvPr/>
        </p:nvSpPr>
        <p:spPr>
          <a:xfrm>
            <a:off x="1161896" y="303302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E1E5901C-75B9-4255-B79F-AFC39A71CB5A}"/>
              </a:ext>
            </a:extLst>
          </p:cNvPr>
          <p:cNvSpPr/>
          <p:nvPr/>
        </p:nvSpPr>
        <p:spPr>
          <a:xfrm>
            <a:off x="1777821" y="303302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5B68763A-C0FE-4288-99F2-5FD3D1D6259F}"/>
              </a:ext>
            </a:extLst>
          </p:cNvPr>
          <p:cNvSpPr/>
          <p:nvPr/>
        </p:nvSpPr>
        <p:spPr>
          <a:xfrm>
            <a:off x="2085784" y="303302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36678E34-C42F-4272-A80C-040E642AF4BE}"/>
              </a:ext>
            </a:extLst>
          </p:cNvPr>
          <p:cNvSpPr/>
          <p:nvPr/>
        </p:nvSpPr>
        <p:spPr>
          <a:xfrm>
            <a:off x="2393745" y="303302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12996ED4-A971-4578-B5CD-3D91B7A50B7D}"/>
              </a:ext>
            </a:extLst>
          </p:cNvPr>
          <p:cNvSpPr/>
          <p:nvPr/>
        </p:nvSpPr>
        <p:spPr>
          <a:xfrm>
            <a:off x="1469859" y="303302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xmlns="" id="{F4FC888B-7FCA-46F6-B3EA-F5E5A44DE1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03568" y="250851"/>
            <a:ext cx="1025765" cy="301519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xmlns="" id="{3AF8591F-F851-4C72-BCB4-63E779F403D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8170626" y="213443"/>
            <a:ext cx="387695" cy="395497"/>
          </a:xfrm>
          <a:prstGeom prst="rect">
            <a:avLst/>
          </a:prstGeom>
        </p:spPr>
      </p:pic>
      <p:sp>
        <p:nvSpPr>
          <p:cNvPr id="68" name="AutoShape 3">
            <a:extLst>
              <a:ext uri="{FF2B5EF4-FFF2-40B4-BE49-F238E27FC236}">
                <a16:creationId xmlns:a16="http://schemas.microsoft.com/office/drawing/2014/main" xmlns="" id="{7C233DCD-3CD1-4929-94D1-3010DBD81C0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207580" y="1161812"/>
            <a:ext cx="8556625" cy="3244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" name="Line 5">
            <a:extLst>
              <a:ext uri="{FF2B5EF4-FFF2-40B4-BE49-F238E27FC236}">
                <a16:creationId xmlns:a16="http://schemas.microsoft.com/office/drawing/2014/main" xmlns="" id="{650E7EB4-4889-4666-AABC-C5A536117580}"/>
              </a:ext>
            </a:extLst>
          </p:cNvPr>
          <p:cNvSpPr>
            <a:spLocks noChangeShapeType="1"/>
          </p:cNvSpPr>
          <p:nvPr/>
        </p:nvSpPr>
        <p:spPr bwMode="auto">
          <a:xfrm>
            <a:off x="461580" y="1163400"/>
            <a:ext cx="0" cy="3140075"/>
          </a:xfrm>
          <a:prstGeom prst="line">
            <a:avLst/>
          </a:prstGeom>
          <a:noFill/>
          <a:ln w="9525" cap="flat">
            <a:solidFill>
              <a:srgbClr val="9E9E9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" name="Line 6">
            <a:extLst>
              <a:ext uri="{FF2B5EF4-FFF2-40B4-BE49-F238E27FC236}">
                <a16:creationId xmlns:a16="http://schemas.microsoft.com/office/drawing/2014/main" xmlns="" id="{E3212485-9511-4F5D-A9F6-5218D6C89FF6}"/>
              </a:ext>
            </a:extLst>
          </p:cNvPr>
          <p:cNvSpPr>
            <a:spLocks noChangeShapeType="1"/>
          </p:cNvSpPr>
          <p:nvPr/>
        </p:nvSpPr>
        <p:spPr bwMode="auto">
          <a:xfrm>
            <a:off x="209168" y="3693875"/>
            <a:ext cx="8550275" cy="0"/>
          </a:xfrm>
          <a:prstGeom prst="line">
            <a:avLst/>
          </a:prstGeom>
          <a:noFill/>
          <a:ln w="9525" cap="flat">
            <a:solidFill>
              <a:srgbClr val="9E9E9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" name="Line 7">
            <a:extLst>
              <a:ext uri="{FF2B5EF4-FFF2-40B4-BE49-F238E27FC236}">
                <a16:creationId xmlns:a16="http://schemas.microsoft.com/office/drawing/2014/main" xmlns="" id="{BFFFED76-D8B9-495E-B6CA-5687B5486876}"/>
              </a:ext>
            </a:extLst>
          </p:cNvPr>
          <p:cNvSpPr>
            <a:spLocks noChangeShapeType="1"/>
          </p:cNvSpPr>
          <p:nvPr/>
        </p:nvSpPr>
        <p:spPr bwMode="auto">
          <a:xfrm>
            <a:off x="213930" y="1163400"/>
            <a:ext cx="0" cy="3140075"/>
          </a:xfrm>
          <a:prstGeom prst="line">
            <a:avLst/>
          </a:prstGeom>
          <a:noFill/>
          <a:ln w="9525" cap="flat">
            <a:solidFill>
              <a:srgbClr val="9E9E9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" name="Line 8">
            <a:extLst>
              <a:ext uri="{FF2B5EF4-FFF2-40B4-BE49-F238E27FC236}">
                <a16:creationId xmlns:a16="http://schemas.microsoft.com/office/drawing/2014/main" xmlns="" id="{55F15BD0-26F9-4C88-8067-238883FE8B33}"/>
              </a:ext>
            </a:extLst>
          </p:cNvPr>
          <p:cNvSpPr>
            <a:spLocks noChangeShapeType="1"/>
          </p:cNvSpPr>
          <p:nvPr/>
        </p:nvSpPr>
        <p:spPr bwMode="auto">
          <a:xfrm>
            <a:off x="8754680" y="1163400"/>
            <a:ext cx="0" cy="3140075"/>
          </a:xfrm>
          <a:prstGeom prst="line">
            <a:avLst/>
          </a:prstGeom>
          <a:noFill/>
          <a:ln w="9525" cap="flat">
            <a:solidFill>
              <a:srgbClr val="9E9E9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" name="Line 9">
            <a:extLst>
              <a:ext uri="{FF2B5EF4-FFF2-40B4-BE49-F238E27FC236}">
                <a16:creationId xmlns:a16="http://schemas.microsoft.com/office/drawing/2014/main" xmlns="" id="{2A6B7632-B629-4F38-9E4F-853C2555582C}"/>
              </a:ext>
            </a:extLst>
          </p:cNvPr>
          <p:cNvSpPr>
            <a:spLocks noChangeShapeType="1"/>
          </p:cNvSpPr>
          <p:nvPr/>
        </p:nvSpPr>
        <p:spPr bwMode="auto">
          <a:xfrm>
            <a:off x="209168" y="1168162"/>
            <a:ext cx="8550275" cy="0"/>
          </a:xfrm>
          <a:prstGeom prst="line">
            <a:avLst/>
          </a:prstGeom>
          <a:noFill/>
          <a:ln w="9525" cap="flat">
            <a:solidFill>
              <a:srgbClr val="9E9E9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" name="Line 10">
            <a:extLst>
              <a:ext uri="{FF2B5EF4-FFF2-40B4-BE49-F238E27FC236}">
                <a16:creationId xmlns:a16="http://schemas.microsoft.com/office/drawing/2014/main" xmlns="" id="{AFA6A0EE-8779-4609-B435-2F45702EF311}"/>
              </a:ext>
            </a:extLst>
          </p:cNvPr>
          <p:cNvSpPr>
            <a:spLocks noChangeShapeType="1"/>
          </p:cNvSpPr>
          <p:nvPr/>
        </p:nvSpPr>
        <p:spPr bwMode="auto">
          <a:xfrm>
            <a:off x="209168" y="4298712"/>
            <a:ext cx="8550275" cy="0"/>
          </a:xfrm>
          <a:prstGeom prst="line">
            <a:avLst/>
          </a:prstGeom>
          <a:noFill/>
          <a:ln w="9525" cap="flat">
            <a:solidFill>
              <a:srgbClr val="9E9E9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" name="Rectangle 11">
            <a:extLst>
              <a:ext uri="{FF2B5EF4-FFF2-40B4-BE49-F238E27FC236}">
                <a16:creationId xmlns:a16="http://schemas.microsoft.com/office/drawing/2014/main" xmlns="" id="{A011E99B-745C-4D6D-88BB-AFEFCC7A77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3968" y="1231662"/>
            <a:ext cx="2935288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157"/>
                <a:cs typeface="157"/>
              </a:rPr>
              <a:t>Show status of active interfac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6" name="Rectangle 12">
            <a:extLst>
              <a:ext uri="{FF2B5EF4-FFF2-40B4-BE49-F238E27FC236}">
                <a16:creationId xmlns:a16="http://schemas.microsoft.com/office/drawing/2014/main" xmlns="" id="{0423328E-ABDF-4868-8768-9D3FE226BE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5243" y="1552337"/>
            <a:ext cx="962025" cy="319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157"/>
                <a:cs typeface="157"/>
              </a:rPr>
              <a:t># ifconfig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7" name="Rectangle 13">
            <a:extLst>
              <a:ext uri="{FF2B5EF4-FFF2-40B4-BE49-F238E27FC236}">
                <a16:creationId xmlns:a16="http://schemas.microsoft.com/office/drawing/2014/main" xmlns="" id="{54CB0339-CDE6-494B-B096-5DDC833F6A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5243" y="1869837"/>
            <a:ext cx="1927225" cy="341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157"/>
                <a:cs typeface="157"/>
              </a:rPr>
              <a:t>Enable an interfac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8" name="Rectangle 14">
            <a:extLst>
              <a:ext uri="{FF2B5EF4-FFF2-40B4-BE49-F238E27FC236}">
                <a16:creationId xmlns:a16="http://schemas.microsoft.com/office/drawing/2014/main" xmlns="" id="{5406D4BE-F0D2-4148-8398-01065A4CC7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5243" y="2192100"/>
            <a:ext cx="1668463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157"/>
                <a:cs typeface="157"/>
              </a:rPr>
              <a:t># ifconfig eth0 up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9" name="Rectangle 15">
            <a:extLst>
              <a:ext uri="{FF2B5EF4-FFF2-40B4-BE49-F238E27FC236}">
                <a16:creationId xmlns:a16="http://schemas.microsoft.com/office/drawing/2014/main" xmlns="" id="{FB27191A-F8B1-4CE4-9E6A-E91EF11404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5243" y="2512775"/>
            <a:ext cx="1854200" cy="319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157"/>
                <a:cs typeface="157"/>
              </a:rPr>
              <a:t>Disable an interfac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0" name="Rectangle 16">
            <a:extLst>
              <a:ext uri="{FF2B5EF4-FFF2-40B4-BE49-F238E27FC236}">
                <a16:creationId xmlns:a16="http://schemas.microsoft.com/office/drawing/2014/main" xmlns="" id="{3FFB661C-F49E-4E38-89A2-EABA08571A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5243" y="2830275"/>
            <a:ext cx="2074863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157"/>
                <a:cs typeface="157"/>
              </a:rPr>
              <a:t># ifconfig eth0 down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1" name="Rectangle 17">
            <a:extLst>
              <a:ext uri="{FF2B5EF4-FFF2-40B4-BE49-F238E27FC236}">
                <a16:creationId xmlns:a16="http://schemas.microsoft.com/office/drawing/2014/main" xmlns="" id="{474B0D5C-579E-4F88-AA1A-88EAC5E3C2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5243" y="3150950"/>
            <a:ext cx="3367088" cy="341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157"/>
                <a:cs typeface="157"/>
              </a:rPr>
              <a:t>Change IP address of an interfac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2" name="Rectangle 18">
            <a:extLst>
              <a:ext uri="{FF2B5EF4-FFF2-40B4-BE49-F238E27FC236}">
                <a16:creationId xmlns:a16="http://schemas.microsoft.com/office/drawing/2014/main" xmlns="" id="{8FC09DBC-6A8F-42E5-AB45-BF4A39B4CE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5243" y="3473212"/>
            <a:ext cx="2519363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157"/>
                <a:cs typeface="157"/>
              </a:rPr>
              <a:t># ifconfig eth0 192.168.0.1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3" name="Rectangle 19">
            <a:extLst>
              <a:ext uri="{FF2B5EF4-FFF2-40B4-BE49-F238E27FC236}">
                <a16:creationId xmlns:a16="http://schemas.microsoft.com/office/drawing/2014/main" xmlns="" id="{0BC93E81-9F30-4B52-8E05-38ECC77FE5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3968" y="3755787"/>
            <a:ext cx="1517650" cy="341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157"/>
                <a:cs typeface="157"/>
              </a:rPr>
              <a:t>Change subne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4" name="Rectangle 20">
            <a:extLst>
              <a:ext uri="{FF2B5EF4-FFF2-40B4-BE49-F238E27FC236}">
                <a16:creationId xmlns:a16="http://schemas.microsoft.com/office/drawing/2014/main" xmlns="" id="{90EC7DEA-7F95-489A-8B73-CBE6AF99A2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25243" y="3755787"/>
            <a:ext cx="228600" cy="341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157"/>
                <a:cs typeface="157"/>
              </a:rPr>
              <a:t>-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5" name="Rectangle 21">
            <a:extLst>
              <a:ext uri="{FF2B5EF4-FFF2-40B4-BE49-F238E27FC236}">
                <a16:creationId xmlns:a16="http://schemas.microsoft.com/office/drawing/2014/main" xmlns="" id="{8DE16544-4029-4B7A-8AE1-237EDF0FED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33193" y="3755787"/>
            <a:ext cx="2025650" cy="341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157"/>
                <a:cs typeface="157"/>
              </a:rPr>
              <a:t>mask of an interfac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6" name="Rectangle 22">
            <a:extLst>
              <a:ext uri="{FF2B5EF4-FFF2-40B4-BE49-F238E27FC236}">
                <a16:creationId xmlns:a16="http://schemas.microsoft.com/office/drawing/2014/main" xmlns="" id="{B35EF69C-CC06-4174-AE31-190742F829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3968" y="4078050"/>
            <a:ext cx="290513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157"/>
                <a:cs typeface="157"/>
              </a:rPr>
              <a:t>#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" name="Rectangle 23">
            <a:extLst>
              <a:ext uri="{FF2B5EF4-FFF2-40B4-BE49-F238E27FC236}">
                <a16:creationId xmlns:a16="http://schemas.microsoft.com/office/drawing/2014/main" xmlns="" id="{5E955430-9A0C-40ED-AB6E-48D5752EF4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8118" y="4078050"/>
            <a:ext cx="777875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157"/>
                <a:cs typeface="157"/>
              </a:rPr>
              <a:t>ifconfig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8" name="Rectangle 24">
            <a:extLst>
              <a:ext uri="{FF2B5EF4-FFF2-40B4-BE49-F238E27FC236}">
                <a16:creationId xmlns:a16="http://schemas.microsoft.com/office/drawing/2014/main" xmlns="" id="{2C3A072F-1506-4F50-98E0-F3B17C8EEC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12493" y="4078050"/>
            <a:ext cx="2900363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157"/>
                <a:cs typeface="157"/>
              </a:rPr>
              <a:t>eth0 netmask 255.255.255.248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76699770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8" grpId="0"/>
      <p:bldP spid="69" grpId="0" animBg="1"/>
      <p:bldP spid="70" grpId="0" animBg="1"/>
      <p:bldP spid="71" grpId="0" animBg="1"/>
      <p:bldP spid="72" grpId="0" animBg="1"/>
      <p:bldP spid="73" grpId="0" animBg="1"/>
      <p:bldP spid="74" grpId="0" animBg="1"/>
      <p:bldP spid="75" grpId="0"/>
      <p:bldP spid="76" grpId="0"/>
      <p:bldP spid="77" grpId="0"/>
      <p:bldP spid="78" grpId="0"/>
      <p:bldP spid="79" grpId="0"/>
      <p:bldP spid="80" grpId="0"/>
      <p:bldP spid="81" grpId="0"/>
      <p:bldP spid="82" grpId="0"/>
      <p:bldP spid="83" grpId="0"/>
      <p:bldP spid="84" grpId="0"/>
      <p:bldP spid="85" grpId="0"/>
      <p:bldP spid="86" grpId="0"/>
      <p:bldP spid="87" grpId="0"/>
      <p:bldP spid="88" grpId="0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0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0FC3722-8F96-43A5-A133-2ADF5CE88875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xmlns="" id="{475343A4-333F-4558-9B30-BC15AAB1A318}"/>
              </a:ext>
            </a:extLst>
          </p:cNvPr>
          <p:cNvSpPr/>
          <p:nvPr/>
        </p:nvSpPr>
        <p:spPr>
          <a:xfrm>
            <a:off x="-50782" y="1"/>
            <a:ext cx="11302409" cy="519489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xmlns="" id="{925C2EED-F692-4F64-B5C8-DBB35B8EAE13}"/>
              </a:ext>
            </a:extLst>
          </p:cNvPr>
          <p:cNvSpPr/>
          <p:nvPr/>
        </p:nvSpPr>
        <p:spPr>
          <a:xfrm>
            <a:off x="-55546" y="66454"/>
            <a:ext cx="11251630" cy="507704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xmlns="" id="{BE6E1CF5-59DA-43AB-9866-0328CF12083B}"/>
              </a:ext>
            </a:extLst>
          </p:cNvPr>
          <p:cNvSpPr/>
          <p:nvPr/>
        </p:nvSpPr>
        <p:spPr>
          <a:xfrm>
            <a:off x="-3" y="127067"/>
            <a:ext cx="11111023" cy="4949979"/>
          </a:xfrm>
          <a:prstGeom prst="homePlat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xmlns="" id="{5386A08B-7D7F-47E3-92B0-DE14688643F9}"/>
              </a:ext>
            </a:extLst>
          </p:cNvPr>
          <p:cNvSpPr/>
          <p:nvPr/>
        </p:nvSpPr>
        <p:spPr>
          <a:xfrm>
            <a:off x="-74428" y="152763"/>
            <a:ext cx="11129905" cy="4889366"/>
          </a:xfrm>
          <a:prstGeom prst="homePlat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1A6F54B5-0441-4560-B588-51F6748A10E7}"/>
              </a:ext>
            </a:extLst>
          </p:cNvPr>
          <p:cNvSpPr/>
          <p:nvPr/>
        </p:nvSpPr>
        <p:spPr>
          <a:xfrm>
            <a:off x="853933" y="303302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E76D8363-97F8-4D84-B055-4CAB5AF1B9B9}"/>
              </a:ext>
            </a:extLst>
          </p:cNvPr>
          <p:cNvSpPr/>
          <p:nvPr/>
        </p:nvSpPr>
        <p:spPr>
          <a:xfrm>
            <a:off x="1161896" y="303302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E1E5901C-75B9-4255-B79F-AFC39A71CB5A}"/>
              </a:ext>
            </a:extLst>
          </p:cNvPr>
          <p:cNvSpPr/>
          <p:nvPr/>
        </p:nvSpPr>
        <p:spPr>
          <a:xfrm>
            <a:off x="1777821" y="303302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5B68763A-C0FE-4288-99F2-5FD3D1D6259F}"/>
              </a:ext>
            </a:extLst>
          </p:cNvPr>
          <p:cNvSpPr/>
          <p:nvPr/>
        </p:nvSpPr>
        <p:spPr>
          <a:xfrm>
            <a:off x="2085784" y="303302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36678E34-C42F-4272-A80C-040E642AF4BE}"/>
              </a:ext>
            </a:extLst>
          </p:cNvPr>
          <p:cNvSpPr/>
          <p:nvPr/>
        </p:nvSpPr>
        <p:spPr>
          <a:xfrm>
            <a:off x="2393745" y="303302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12996ED4-A971-4578-B5CD-3D91B7A50B7D}"/>
              </a:ext>
            </a:extLst>
          </p:cNvPr>
          <p:cNvSpPr/>
          <p:nvPr/>
        </p:nvSpPr>
        <p:spPr>
          <a:xfrm>
            <a:off x="1469859" y="303302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xmlns="" id="{F4FC888B-7FCA-46F6-B3EA-F5E5A44DE1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03568" y="250851"/>
            <a:ext cx="1025765" cy="301519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xmlns="" id="{3AF8591F-F851-4C72-BCB4-63E779F403D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8170626" y="213443"/>
            <a:ext cx="387695" cy="395497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7617DD60-ACC1-4B3D-9688-6C9FA0B2E896}"/>
              </a:ext>
            </a:extLst>
          </p:cNvPr>
          <p:cNvSpPr txBox="1"/>
          <p:nvPr/>
        </p:nvSpPr>
        <p:spPr>
          <a:xfrm>
            <a:off x="92678" y="1158427"/>
            <a:ext cx="8958644" cy="2893100"/>
          </a:xfrm>
          <a:prstGeom prst="rect">
            <a:avLst/>
          </a:prstGeom>
          <a:solidFill>
            <a:srgbClr val="000000"/>
          </a:solidFill>
          <a:ln>
            <a:solidFill>
              <a:srgbClr val="FFFFFF"/>
            </a:solidFill>
          </a:ln>
        </p:spPr>
        <p:txBody>
          <a:bodyPr wrap="square" numCol="1" rtlCol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Ifconfig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/>
            </a:r>
            <a:b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</a:b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eth0    Link </a:t>
            </a:r>
            <a:r>
              <a:rPr lang="en-US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encap:Ethernet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HWaddr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00:0C:29:78:CC:FD</a:t>
            </a:r>
            <a:b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</a:b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    </a:t>
            </a:r>
            <a:r>
              <a:rPr lang="en-US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inet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addr:10.0.0.30 Bcast:10.0.0.255 Mask:255.255.255.0</a:t>
            </a:r>
            <a:b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</a:b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    inet6 </a:t>
            </a:r>
            <a:r>
              <a:rPr lang="en-US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addr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fe80:20c:29ff:fe78:ccfd/64 </a:t>
            </a:r>
            <a:r>
              <a:rPr lang="en-US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Scope:Link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/>
            </a:r>
            <a:b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</a:b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    UP BROADCAST RUNNING MULTICAST MTU:1500M Metric:1</a:t>
            </a:r>
            <a:b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</a:b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    RX packets:110 errors:0 dropped:0 overruns:0 frame:0</a:t>
            </a:r>
            <a:b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</a:b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 </a:t>
            </a:r>
            <a:b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</a:b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    TX packets:91 errors:0 dropped:0 overruns:0 carrier:0</a:t>
            </a:r>
            <a:b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</a:b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 </a:t>
            </a:r>
            <a:b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</a:b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    Collision:0 txqueueien:1000</a:t>
            </a:r>
            <a:b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</a:br>
            <a:endParaRPr lang="en-US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    RX bytes:11828 (11.5 KiB)  TX bytes:9390 (9.1Kib)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57316253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4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0FC3722-8F96-43A5-A133-2ADF5CE88875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xmlns="" id="{475343A4-333F-4558-9B30-BC15AAB1A318}"/>
              </a:ext>
            </a:extLst>
          </p:cNvPr>
          <p:cNvSpPr/>
          <p:nvPr/>
        </p:nvSpPr>
        <p:spPr>
          <a:xfrm>
            <a:off x="-50782" y="1"/>
            <a:ext cx="11302409" cy="519489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xmlns="" id="{925C2EED-F692-4F64-B5C8-DBB35B8EAE13}"/>
              </a:ext>
            </a:extLst>
          </p:cNvPr>
          <p:cNvSpPr/>
          <p:nvPr/>
        </p:nvSpPr>
        <p:spPr>
          <a:xfrm>
            <a:off x="-55546" y="66454"/>
            <a:ext cx="11251630" cy="507704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xmlns="" id="{BE6E1CF5-59DA-43AB-9866-0328CF12083B}"/>
              </a:ext>
            </a:extLst>
          </p:cNvPr>
          <p:cNvSpPr/>
          <p:nvPr/>
        </p:nvSpPr>
        <p:spPr>
          <a:xfrm>
            <a:off x="-3" y="127067"/>
            <a:ext cx="11111023" cy="4949979"/>
          </a:xfrm>
          <a:prstGeom prst="homePlat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xmlns="" id="{5386A08B-7D7F-47E3-92B0-DE14688643F9}"/>
              </a:ext>
            </a:extLst>
          </p:cNvPr>
          <p:cNvSpPr/>
          <p:nvPr/>
        </p:nvSpPr>
        <p:spPr>
          <a:xfrm>
            <a:off x="-74428" y="152763"/>
            <a:ext cx="11129905" cy="4889366"/>
          </a:xfrm>
          <a:prstGeom prst="homePlat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1A6F54B5-0441-4560-B588-51F6748A10E7}"/>
              </a:ext>
            </a:extLst>
          </p:cNvPr>
          <p:cNvSpPr/>
          <p:nvPr/>
        </p:nvSpPr>
        <p:spPr>
          <a:xfrm>
            <a:off x="853933" y="303302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E76D8363-97F8-4D84-B055-4CAB5AF1B9B9}"/>
              </a:ext>
            </a:extLst>
          </p:cNvPr>
          <p:cNvSpPr/>
          <p:nvPr/>
        </p:nvSpPr>
        <p:spPr>
          <a:xfrm>
            <a:off x="1161896" y="303302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E1E5901C-75B9-4255-B79F-AFC39A71CB5A}"/>
              </a:ext>
            </a:extLst>
          </p:cNvPr>
          <p:cNvSpPr/>
          <p:nvPr/>
        </p:nvSpPr>
        <p:spPr>
          <a:xfrm>
            <a:off x="1777821" y="303302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5B68763A-C0FE-4288-99F2-5FD3D1D6259F}"/>
              </a:ext>
            </a:extLst>
          </p:cNvPr>
          <p:cNvSpPr/>
          <p:nvPr/>
        </p:nvSpPr>
        <p:spPr>
          <a:xfrm>
            <a:off x="2085784" y="303302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36678E34-C42F-4272-A80C-040E642AF4BE}"/>
              </a:ext>
            </a:extLst>
          </p:cNvPr>
          <p:cNvSpPr/>
          <p:nvPr/>
        </p:nvSpPr>
        <p:spPr>
          <a:xfrm>
            <a:off x="2393745" y="303302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12996ED4-A971-4578-B5CD-3D91B7A50B7D}"/>
              </a:ext>
            </a:extLst>
          </p:cNvPr>
          <p:cNvSpPr/>
          <p:nvPr/>
        </p:nvSpPr>
        <p:spPr>
          <a:xfrm>
            <a:off x="1469859" y="303302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xmlns="" id="{F4FC888B-7FCA-46F6-B3EA-F5E5A44DE1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03568" y="250851"/>
            <a:ext cx="1025765" cy="301519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xmlns="" id="{3AF8591F-F851-4C72-BCB4-63E779F403D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8170626" y="213443"/>
            <a:ext cx="387695" cy="395497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7617DD60-ACC1-4B3D-9688-6C9FA0B2E896}"/>
              </a:ext>
            </a:extLst>
          </p:cNvPr>
          <p:cNvSpPr txBox="1"/>
          <p:nvPr/>
        </p:nvSpPr>
        <p:spPr>
          <a:xfrm>
            <a:off x="92678" y="1158427"/>
            <a:ext cx="8958644" cy="3323987"/>
          </a:xfrm>
          <a:prstGeom prst="rect">
            <a:avLst/>
          </a:prstGeom>
          <a:solidFill>
            <a:srgbClr val="000000"/>
          </a:solidFill>
          <a:ln>
            <a:solidFill>
              <a:srgbClr val="FFFFFF"/>
            </a:solidFill>
          </a:ln>
        </p:spPr>
        <p:txBody>
          <a:bodyPr wrap="square" numCol="1" rtlCol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lo	Link </a:t>
            </a:r>
            <a:r>
              <a:rPr lang="en-US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encap:Local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Loopback</a:t>
            </a:r>
            <a:b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</a:b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/>
            </a:r>
            <a:b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</a:b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r>
              <a:rPr lang="en-US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Inet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addr:127.0.0.1  Mask:255.0.0.0</a:t>
            </a:r>
            <a:b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</a:b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 </a:t>
            </a:r>
            <a:b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</a:b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Inet6 </a:t>
            </a:r>
            <a:r>
              <a:rPr lang="en-US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addr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: ::1/128 </a:t>
            </a:r>
            <a:r>
              <a:rPr lang="en-US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Spoce:Host</a:t>
            </a: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/>
            </a:r>
            <a:b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</a:b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 </a:t>
            </a:r>
            <a:b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</a:b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UP LOOPBACK RUNNING MTU:16436 Metric:1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RX packets:8 errors:0 dropped:0 overruns:0 frame:0</a:t>
            </a:r>
            <a:b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</a:b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 </a:t>
            </a:r>
            <a:b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</a:b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TX packet:8 errors:0 dropped:0 overruns:0 carrier:0</a:t>
            </a:r>
            <a:b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</a:b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 </a:t>
            </a:r>
            <a:b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</a:b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collisions:0 txqueuelen:0</a:t>
            </a:r>
            <a:b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</a:b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 </a:t>
            </a:r>
            <a:b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</a:br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RX bytes:792 (792.0.b) TX bytes:792 (792.0.b)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576422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8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983EDB11-5B99-4F09-9BC7-D746870E1C4E}"/>
              </a:ext>
            </a:extLst>
          </p:cNvPr>
          <p:cNvSpPr/>
          <p:nvPr/>
        </p:nvSpPr>
        <p:spPr>
          <a:xfrm>
            <a:off x="874767" y="1533036"/>
            <a:ext cx="3129771" cy="166574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tIns="54864" rIns="54864" bIns="54864" numCol="1" rtlCol="0" anchor="ctr"/>
          <a:lstStyle/>
          <a:p>
            <a:pPr marL="0" marR="0" lvl="0" indent="0" algn="ctr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925" b="0" i="0" u="none" strike="noStrike" kern="0" cap="none" spc="0" normalizeH="0" baseline="0" noProof="0" dirty="0">
                <a:ln>
                  <a:noFill/>
                </a:ln>
                <a:solidFill>
                  <a:srgbClr val="273C75">
                    <a:lumMod val="20000"/>
                    <a:lumOff val="80000"/>
                  </a:srgbClr>
                </a:solidFill>
                <a:effectLst/>
                <a:uLnTx/>
                <a:uFillTx/>
                <a:latin typeface="សម្រាប់កូនខ្មែរ" panose="02000500000000020004" pitchFamily="2" charset="0"/>
                <a:ea typeface="+mn-ea"/>
                <a:cs typeface="សម្រាប់កូនខ្មែរ" panose="02000500000000020004" pitchFamily="2" charset="0"/>
                <a:sym typeface="Arial"/>
              </a:rPr>
              <a:t>1.3</a:t>
            </a:r>
            <a:endParaRPr kumimoji="0" lang="en-US" sz="750" b="0" i="0" u="none" strike="noStrike" kern="0" cap="none" spc="0" normalizeH="0" baseline="0" noProof="0" dirty="0">
              <a:ln>
                <a:noFill/>
              </a:ln>
              <a:solidFill>
                <a:srgbClr val="273C75">
                  <a:lumMod val="20000"/>
                  <a:lumOff val="80000"/>
                </a:srgbClr>
              </a:solidFill>
              <a:effectLst/>
              <a:uLnTx/>
              <a:uFillTx/>
              <a:latin typeface="សម្រាប់កូនខ្មែរ" panose="02000500000000020004" pitchFamily="2" charset="0"/>
              <a:ea typeface="+mn-ea"/>
              <a:cs typeface="សម្រាប់កូនខ្មែរ" panose="02000500000000020004" pitchFamily="2" charset="0"/>
              <a:sym typeface="Arial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CA0D9CDC-ABFA-43C8-8F37-F5B8682C8A96}"/>
              </a:ext>
            </a:extLst>
          </p:cNvPr>
          <p:cNvSpPr/>
          <p:nvPr/>
        </p:nvSpPr>
        <p:spPr>
          <a:xfrm>
            <a:off x="4025398" y="1478151"/>
            <a:ext cx="4143126" cy="19485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altLang="de-DE" sz="1350" b="0" i="0" u="none" strike="noStrike" kern="120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72BA5E31-8C76-4878-8E9A-40C31B4AFA64}"/>
              </a:ext>
            </a:extLst>
          </p:cNvPr>
          <p:cNvSpPr/>
          <p:nvPr/>
        </p:nvSpPr>
        <p:spPr>
          <a:xfrm>
            <a:off x="4125685" y="1222218"/>
            <a:ext cx="5018315" cy="26990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altLang="de-DE" sz="1350" b="0" i="0" u="none" strike="noStrike" kern="120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33CFFF82-1DE1-4847-A9A2-AA670A313F9F}"/>
              </a:ext>
            </a:extLst>
          </p:cNvPr>
          <p:cNvSpPr txBox="1"/>
          <p:nvPr/>
        </p:nvSpPr>
        <p:spPr>
          <a:xfrm>
            <a:off x="4401801" y="1603158"/>
            <a:ext cx="1261564" cy="738664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km-KH" altLang="de-DE" sz="4800" b="0" i="0" u="none" strike="noStrike" kern="0" cap="none" spc="0" normalizeH="0" baseline="0" noProof="0" dirty="0">
                <a:ln>
                  <a:noFill/>
                </a:ln>
                <a:solidFill>
                  <a:srgbClr val="FF560D"/>
                </a:solidFill>
                <a:effectLst/>
                <a:uLnTx/>
                <a:uFillTx/>
                <a:latin typeface="Khmer Moul" panose="02060603050605020204" pitchFamily="18" charset="0"/>
                <a:cs typeface="MoolBoran" panose="020B0100010101010101" pitchFamily="34" charset="0"/>
                <a:sym typeface="Arial"/>
              </a:rPr>
              <a:t>ជំពូកទី</a:t>
            </a:r>
            <a:r>
              <a:rPr kumimoji="0" lang="en-US" altLang="de-DE" sz="3600" b="0" i="0" u="none" strike="noStrike" kern="0" cap="none" spc="0" normalizeH="0" baseline="0" noProof="0" dirty="0">
                <a:ln>
                  <a:noFill/>
                </a:ln>
                <a:solidFill>
                  <a:srgbClr val="FF560D"/>
                </a:solidFill>
                <a:effectLst/>
                <a:uLnTx/>
                <a:uFillTx/>
                <a:latin typeface="Khmer Moul" panose="02060603050605020204" pitchFamily="18" charset="0"/>
                <a:cs typeface="Arial"/>
                <a:sym typeface="Arial"/>
              </a:rPr>
              <a:t>7</a:t>
            </a:r>
            <a:endParaRPr kumimoji="0" lang="de-DE" altLang="de-DE" sz="4800" b="0" i="0" u="none" strike="noStrike" kern="0" cap="none" spc="0" normalizeH="0" baseline="0" noProof="0" dirty="0">
              <a:ln>
                <a:noFill/>
              </a:ln>
              <a:solidFill>
                <a:srgbClr val="FF560D"/>
              </a:solidFill>
              <a:effectLst/>
              <a:uLnTx/>
              <a:uFillTx/>
              <a:latin typeface="Khmer Moul" panose="02060603050605020204" pitchFamily="18" charset="0"/>
              <a:cs typeface="Arial"/>
              <a:sym typeface="Arial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0681B20C-C864-4359-BC1C-DFEC6BA765B5}"/>
              </a:ext>
            </a:extLst>
          </p:cNvPr>
          <p:cNvSpPr txBox="1"/>
          <p:nvPr/>
        </p:nvSpPr>
        <p:spPr>
          <a:xfrm>
            <a:off x="4401801" y="2432347"/>
            <a:ext cx="4233678" cy="738664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lvl="0" defTabSz="685800">
              <a:buClrTx/>
            </a:pPr>
            <a:r>
              <a:rPr lang="km-KH" altLang="de-DE" sz="2400" b="1" kern="1200" dirty="0">
                <a:solidFill>
                  <a:srgbClr val="7F8FA1"/>
                </a:solidFill>
                <a:latin typeface="Ang DaunKeo" panose="020B0503020102020204" pitchFamily="34" charset="0"/>
                <a:ea typeface="+mn-ea"/>
                <a:cs typeface="Ang DaunKeo" panose="020B0503020102020204" pitchFamily="34" charset="0"/>
              </a:rPr>
              <a:t>ការតេស្តនៅលើ </a:t>
            </a:r>
            <a:r>
              <a:rPr lang="en-US" altLang="de-DE" sz="2400" b="1" kern="1200" dirty="0">
                <a:solidFill>
                  <a:srgbClr val="7F8FA1"/>
                </a:solidFill>
                <a:latin typeface="Ang DaunKeo" panose="020B0503020102020204" pitchFamily="34" charset="0"/>
                <a:ea typeface="+mn-ea"/>
                <a:cs typeface="Ang DaunKeo" panose="020B0503020102020204" pitchFamily="34" charset="0"/>
              </a:rPr>
              <a:t>Network </a:t>
            </a:r>
            <a:r>
              <a:rPr lang="km-KH" altLang="de-DE" sz="2400" b="1" kern="1200" dirty="0">
                <a:solidFill>
                  <a:srgbClr val="7F8FA1"/>
                </a:solidFill>
                <a:latin typeface="Ang DaunKeo" panose="020B0503020102020204" pitchFamily="34" charset="0"/>
                <a:ea typeface="+mn-ea"/>
                <a:cs typeface="Ang DaunKeo" panose="020B0503020102020204" pitchFamily="34" charset="0"/>
              </a:rPr>
              <a:t>ដោយប្រើ </a:t>
            </a:r>
            <a:r>
              <a:rPr lang="en-US" altLang="de-DE" sz="2400" b="1" kern="1200" dirty="0">
                <a:solidFill>
                  <a:srgbClr val="7F8FA1"/>
                </a:solidFill>
                <a:latin typeface="Ang DaunKeo" panose="020B0503020102020204" pitchFamily="34" charset="0"/>
                <a:ea typeface="+mn-ea"/>
                <a:cs typeface="Ang DaunKeo" panose="020B0503020102020204" pitchFamily="34" charset="0"/>
              </a:rPr>
              <a:t>Tool</a:t>
            </a:r>
            <a:endParaRPr kumimoji="0" lang="de-DE" altLang="de-DE" sz="2400" b="0" i="0" u="none" strike="noStrike" kern="1200" cap="none" spc="0" normalizeH="0" baseline="0" noProof="0" dirty="0">
              <a:ln>
                <a:noFill/>
              </a:ln>
              <a:solidFill>
                <a:srgbClr val="7F8FA1"/>
              </a:solidFill>
              <a:effectLst/>
              <a:uLnTx/>
              <a:uFillTx/>
              <a:latin typeface="Segoe UI Semibold"/>
              <a:ea typeface="+mn-ea"/>
              <a:cs typeface="Arial"/>
              <a:sym typeface="Arial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5DF9826B-B11A-4807-AD75-D123B849FD09}"/>
              </a:ext>
            </a:extLst>
          </p:cNvPr>
          <p:cNvSpPr/>
          <p:nvPr/>
        </p:nvSpPr>
        <p:spPr>
          <a:xfrm>
            <a:off x="7612912" y="159488"/>
            <a:ext cx="1297172" cy="824075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9E48D8DA-6366-4BF0-9EAD-B84A8D524FC8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D2DFBEF6-3E85-4855-A7F7-DDE72B55FD81}"/>
              </a:ext>
            </a:extLst>
          </p:cNvPr>
          <p:cNvSpPr/>
          <p:nvPr/>
        </p:nvSpPr>
        <p:spPr>
          <a:xfrm>
            <a:off x="6861336" y="196976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911253D4-432B-49D8-9C7E-1A74CA4AA59E}"/>
              </a:ext>
            </a:extLst>
          </p:cNvPr>
          <p:cNvSpPr/>
          <p:nvPr/>
        </p:nvSpPr>
        <p:spPr>
          <a:xfrm>
            <a:off x="7169299" y="196976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16C69879-F1EE-4AAD-9E23-758CB2E4F45F}"/>
              </a:ext>
            </a:extLst>
          </p:cNvPr>
          <p:cNvSpPr/>
          <p:nvPr/>
        </p:nvSpPr>
        <p:spPr>
          <a:xfrm>
            <a:off x="7785224" y="196976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AAEFFDD0-4136-4B4F-A1F7-F7DA53CD9E75}"/>
              </a:ext>
            </a:extLst>
          </p:cNvPr>
          <p:cNvSpPr/>
          <p:nvPr/>
        </p:nvSpPr>
        <p:spPr>
          <a:xfrm>
            <a:off x="8093187" y="196976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383F2F76-C1FC-45C6-8B28-062F3C20D530}"/>
              </a:ext>
            </a:extLst>
          </p:cNvPr>
          <p:cNvSpPr/>
          <p:nvPr/>
        </p:nvSpPr>
        <p:spPr>
          <a:xfrm>
            <a:off x="8401148" y="196976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5A18B412-6E50-4412-811C-3ABF9E0B9983}"/>
              </a:ext>
            </a:extLst>
          </p:cNvPr>
          <p:cNvSpPr/>
          <p:nvPr/>
        </p:nvSpPr>
        <p:spPr>
          <a:xfrm>
            <a:off x="7477262" y="196976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C96C66D5-7C56-462B-98F4-D4E0EEAB8B9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0330" y="144525"/>
            <a:ext cx="1025765" cy="30151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xmlns="" id="{CED49B56-35C6-4F7D-9785-851E40A2AFBD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1897388" y="107117"/>
            <a:ext cx="387695" cy="395497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7475435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2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2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9" grpId="0"/>
      <p:bldP spid="20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0FC3722-8F96-43A5-A133-2ADF5CE88875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xmlns="" id="{475343A4-333F-4558-9B30-BC15AAB1A318}"/>
              </a:ext>
            </a:extLst>
          </p:cNvPr>
          <p:cNvSpPr/>
          <p:nvPr/>
        </p:nvSpPr>
        <p:spPr>
          <a:xfrm>
            <a:off x="-50782" y="1"/>
            <a:ext cx="11302409" cy="519489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xmlns="" id="{925C2EED-F692-4F64-B5C8-DBB35B8EAE13}"/>
              </a:ext>
            </a:extLst>
          </p:cNvPr>
          <p:cNvSpPr/>
          <p:nvPr/>
        </p:nvSpPr>
        <p:spPr>
          <a:xfrm>
            <a:off x="4762" y="66454"/>
            <a:ext cx="11191322" cy="507704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xmlns="" id="{BE6E1CF5-59DA-43AB-9866-0328CF12083B}"/>
              </a:ext>
            </a:extLst>
          </p:cNvPr>
          <p:cNvSpPr/>
          <p:nvPr/>
        </p:nvSpPr>
        <p:spPr>
          <a:xfrm>
            <a:off x="-3" y="127067"/>
            <a:ext cx="11111023" cy="4949979"/>
          </a:xfrm>
          <a:prstGeom prst="homePlat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xmlns="" id="{5386A08B-7D7F-47E3-92B0-DE14688643F9}"/>
              </a:ext>
            </a:extLst>
          </p:cNvPr>
          <p:cNvSpPr/>
          <p:nvPr/>
        </p:nvSpPr>
        <p:spPr>
          <a:xfrm>
            <a:off x="-55546" y="152763"/>
            <a:ext cx="11111023" cy="4889366"/>
          </a:xfrm>
          <a:prstGeom prst="homePlat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200000"/>
              </a:lnSpc>
            </a:pPr>
            <a:r>
              <a:rPr lang="en-US" sz="1600" dirty="0">
                <a:solidFill>
                  <a:srgbClr val="FF560D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</a:p>
          <a:p>
            <a:pPr lvl="0">
              <a:lnSpc>
                <a:spcPct val="200000"/>
              </a:lnSpc>
            </a:pPr>
            <a:r>
              <a:rPr lang="en-US" sz="1600" dirty="0">
                <a:solidFill>
                  <a:srgbClr val="FF560D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r>
              <a:rPr lang="ca-ES" sz="1600" dirty="0">
                <a:solidFill>
                  <a:srgbClr val="FF560D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ការគ្រប់គ្រង់លើ </a:t>
            </a:r>
            <a:r>
              <a:rPr lang="en-US" sz="1600" dirty="0">
                <a:solidFill>
                  <a:srgbClr val="FF560D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Services </a:t>
            </a:r>
            <a:r>
              <a:rPr lang="ca-ES" sz="1600" dirty="0">
                <a:solidFill>
                  <a:srgbClr val="FF560D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ក្នុង​ លីនុច </a:t>
            </a:r>
            <a:r>
              <a:rPr lang="ca-ES" sz="1600" dirty="0">
                <a:solidFill>
                  <a:schemeClr val="tx2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គឺជា សំណុំនៃ </a:t>
            </a:r>
            <a:r>
              <a:rPr lang="en-US" sz="1600" dirty="0">
                <a:solidFill>
                  <a:schemeClr val="tx2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Tools </a:t>
            </a:r>
            <a:r>
              <a:rPr lang="ca-ES" sz="1600" dirty="0">
                <a:solidFill>
                  <a:schemeClr val="tx2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និង </a:t>
            </a:r>
            <a:r>
              <a:rPr lang="en-US" sz="1600" dirty="0">
                <a:solidFill>
                  <a:schemeClr val="tx2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Processes </a:t>
            </a:r>
            <a:r>
              <a:rPr lang="ca-ES" sz="1600" dirty="0">
                <a:solidFill>
                  <a:schemeClr val="tx2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ដែលត្រូវបានប្រើដើម្បី</a:t>
            </a:r>
          </a:p>
          <a:p>
            <a:pPr lvl="0">
              <a:lnSpc>
                <a:spcPct val="200000"/>
              </a:lnSpc>
            </a:pPr>
            <a:r>
              <a:rPr lang="en-US" sz="1600" dirty="0">
                <a:solidFill>
                  <a:schemeClr val="tx2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       	</a:t>
            </a:r>
            <a:r>
              <a:rPr lang="km-KH" sz="1600" dirty="0">
                <a:solidFill>
                  <a:schemeClr val="tx2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គ្រប់គ្រង និងថែទាំប្រព័ន្ធលីនុច។</a:t>
            </a:r>
            <a:r>
              <a:rPr lang="ca-ES" sz="1600" dirty="0">
                <a:solidFill>
                  <a:schemeClr val="tx2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​​ </a:t>
            </a:r>
            <a:r>
              <a:rPr lang="en-US" sz="1600" dirty="0">
                <a:solidFill>
                  <a:schemeClr val="tx2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Services</a:t>
            </a:r>
            <a:r>
              <a:rPr lang="km-KH" sz="1600" dirty="0">
                <a:solidFill>
                  <a:schemeClr val="tx2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ទាំងន</a:t>
            </a:r>
            <a:r>
              <a:rPr lang="ca-ES" sz="1600" dirty="0">
                <a:solidFill>
                  <a:schemeClr val="tx2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ោះ</a:t>
            </a:r>
            <a:r>
              <a:rPr lang="km-KH" sz="1600" dirty="0">
                <a:solidFill>
                  <a:schemeClr val="tx2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អាចត្រូវបានប្រើដើម្បី</a:t>
            </a:r>
            <a:r>
              <a:rPr lang="ca-ES" sz="1600" dirty="0">
                <a:solidFill>
                  <a:schemeClr val="tx2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​ ៖</a:t>
            </a:r>
            <a:r>
              <a:rPr lang="en-US" sz="1600" dirty="0">
                <a:solidFill>
                  <a:schemeClr val="tx2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automate tasks, </a:t>
            </a:r>
            <a:endParaRPr lang="km-KH" sz="1600" dirty="0">
              <a:solidFill>
                <a:schemeClr val="tx2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lvl="0">
              <a:lnSpc>
                <a:spcPct val="200000"/>
              </a:lnSpc>
            </a:pPr>
            <a:r>
              <a:rPr lang="en-US" sz="1600" dirty="0">
                <a:solidFill>
                  <a:schemeClr val="tx2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        	monitor system health, and troubleshoot problems.</a:t>
            </a:r>
          </a:p>
          <a:p>
            <a:pPr lvl="0">
              <a:lnSpc>
                <a:spcPct val="200000"/>
              </a:lnSpc>
            </a:pPr>
            <a:r>
              <a:rPr lang="en-US" sz="1600" dirty="0">
                <a:solidFill>
                  <a:schemeClr val="tx2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r>
              <a:rPr lang="km-KH" sz="1600" dirty="0">
                <a:solidFill>
                  <a:schemeClr val="tx2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កម្មវិធី , </a:t>
            </a:r>
            <a:r>
              <a:rPr lang="ca-ES" sz="1600" dirty="0">
                <a:solidFill>
                  <a:schemeClr val="tx2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command </a:t>
            </a:r>
            <a:r>
              <a:rPr lang="km-KH" sz="1600" dirty="0">
                <a:solidFill>
                  <a:schemeClr val="tx2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ឬ </a:t>
            </a:r>
            <a:r>
              <a:rPr lang="ca-ES" sz="1600" dirty="0">
                <a:solidFill>
                  <a:schemeClr val="tx2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Grub </a:t>
            </a:r>
            <a:r>
              <a:rPr lang="km-KH" sz="1600" dirty="0">
                <a:solidFill>
                  <a:schemeClr val="tx2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វាសុទ្ធតែដំណើរការដោយ</a:t>
            </a:r>
            <a:r>
              <a:rPr lang="ca-ES" sz="1600" dirty="0">
                <a:solidFill>
                  <a:schemeClr val="tx2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service</a:t>
            </a:r>
            <a:r>
              <a:rPr lang="km-KH" sz="1600" dirty="0">
                <a:solidFill>
                  <a:schemeClr val="tx2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ទាំងអស់។</a:t>
            </a:r>
            <a:endParaRPr lang="en-US" sz="1600" dirty="0">
              <a:solidFill>
                <a:schemeClr val="tx2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lvl="0">
              <a:lnSpc>
                <a:spcPct val="200000"/>
              </a:lnSpc>
            </a:pPr>
            <a:r>
              <a:rPr lang="en-US" sz="1600" dirty="0">
                <a:solidFill>
                  <a:schemeClr val="tx2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r>
              <a:rPr lang="km-KH" sz="1600" dirty="0">
                <a:solidFill>
                  <a:schemeClr val="tx2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ដែល</a:t>
            </a:r>
            <a:r>
              <a:rPr lang="ca-ES" sz="1600" dirty="0">
                <a:solidFill>
                  <a:schemeClr val="tx2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service</a:t>
            </a:r>
            <a:r>
              <a:rPr lang="km-KH" sz="1600" dirty="0">
                <a:solidFill>
                  <a:schemeClr val="tx2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ខ្លះដែលចាំបាច់ប្រើប្រាស់ក្នុង</a:t>
            </a:r>
            <a:r>
              <a:rPr lang="ca-ES" sz="1600" dirty="0">
                <a:solidFill>
                  <a:schemeClr val="tx2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linux </a:t>
            </a:r>
            <a:r>
              <a:rPr lang="km-KH" sz="1600" dirty="0">
                <a:solidFill>
                  <a:schemeClr val="tx2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វាបាន</a:t>
            </a:r>
            <a:r>
              <a:rPr lang="ca-ES" sz="1600" dirty="0">
                <a:solidFill>
                  <a:schemeClr val="tx2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config</a:t>
            </a:r>
            <a:r>
              <a:rPr lang="km-KH" sz="1600" dirty="0">
                <a:solidFill>
                  <a:schemeClr val="tx2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រួចរាល់នៅពេលដែលយើងកំពុង</a:t>
            </a:r>
            <a:r>
              <a:rPr lang="ca-ES" sz="1600" dirty="0">
                <a:solidFill>
                  <a:schemeClr val="tx2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boot</a:t>
            </a:r>
            <a:r>
              <a:rPr lang="km-KH" sz="1600" dirty="0">
                <a:solidFill>
                  <a:schemeClr val="tx2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។</a:t>
            </a:r>
          </a:p>
          <a:p>
            <a:pPr lvl="0">
              <a:lnSpc>
                <a:spcPct val="200000"/>
              </a:lnSpc>
            </a:pPr>
            <a:r>
              <a:rPr lang="ca-ES" sz="1600" dirty="0">
                <a:solidFill>
                  <a:schemeClr val="tx2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Service</a:t>
            </a:r>
            <a:r>
              <a:rPr lang="km-KH" sz="1600" dirty="0">
                <a:solidFill>
                  <a:schemeClr val="tx2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ខ្លះទៀត ទាល់តែយើងត្រូវការប្រើ ទើបយើង</a:t>
            </a:r>
            <a:r>
              <a:rPr lang="ca-ES" sz="1600" dirty="0">
                <a:solidFill>
                  <a:schemeClr val="tx2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config </a:t>
            </a:r>
            <a:r>
              <a:rPr lang="km-KH" sz="1600" dirty="0">
                <a:solidFill>
                  <a:schemeClr val="tx2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។</a:t>
            </a:r>
            <a:endParaRPr lang="ca-ES" sz="1600" dirty="0">
              <a:solidFill>
                <a:schemeClr val="tx2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lvl="0">
              <a:lnSpc>
                <a:spcPct val="200000"/>
              </a:lnSpc>
            </a:pP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	</a:t>
            </a:r>
            <a:endParaRPr lang="en-US" sz="1600" dirty="0">
              <a:solidFill>
                <a:schemeClr val="bg2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lvl="0">
              <a:lnSpc>
                <a:spcPct val="200000"/>
              </a:lnSpc>
            </a:pPr>
            <a:endParaRPr lang="en-US" sz="1600" dirty="0">
              <a:solidFill>
                <a:srgbClr val="FFFFFF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fontAlgn="ctr"/>
            <a:endParaRPr lang="en-US" sz="1600" dirty="0">
              <a:solidFill>
                <a:srgbClr val="FFFF00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1A6F54B5-0441-4560-B588-51F6748A10E7}"/>
              </a:ext>
            </a:extLst>
          </p:cNvPr>
          <p:cNvSpPr/>
          <p:nvPr/>
        </p:nvSpPr>
        <p:spPr>
          <a:xfrm>
            <a:off x="853933" y="303302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E76D8363-97F8-4D84-B055-4CAB5AF1B9B9}"/>
              </a:ext>
            </a:extLst>
          </p:cNvPr>
          <p:cNvSpPr/>
          <p:nvPr/>
        </p:nvSpPr>
        <p:spPr>
          <a:xfrm>
            <a:off x="1161896" y="303302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E1E5901C-75B9-4255-B79F-AFC39A71CB5A}"/>
              </a:ext>
            </a:extLst>
          </p:cNvPr>
          <p:cNvSpPr/>
          <p:nvPr/>
        </p:nvSpPr>
        <p:spPr>
          <a:xfrm>
            <a:off x="1777821" y="303302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5B68763A-C0FE-4288-99F2-5FD3D1D6259F}"/>
              </a:ext>
            </a:extLst>
          </p:cNvPr>
          <p:cNvSpPr/>
          <p:nvPr/>
        </p:nvSpPr>
        <p:spPr>
          <a:xfrm>
            <a:off x="2085784" y="303302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36678E34-C42F-4272-A80C-040E642AF4BE}"/>
              </a:ext>
            </a:extLst>
          </p:cNvPr>
          <p:cNvSpPr/>
          <p:nvPr/>
        </p:nvSpPr>
        <p:spPr>
          <a:xfrm>
            <a:off x="2393745" y="303302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12996ED4-A971-4578-B5CD-3D91B7A50B7D}"/>
              </a:ext>
            </a:extLst>
          </p:cNvPr>
          <p:cNvSpPr/>
          <p:nvPr/>
        </p:nvSpPr>
        <p:spPr>
          <a:xfrm>
            <a:off x="1469859" y="303302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xmlns="" id="{F4FC888B-7FCA-46F6-B3EA-F5E5A44DE1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03568" y="250851"/>
            <a:ext cx="1025765" cy="301519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xmlns="" id="{3AF8591F-F851-4C72-BCB4-63E779F403D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8170626" y="213443"/>
            <a:ext cx="387695" cy="395497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152437855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2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0FC3722-8F96-43A5-A133-2ADF5CE88875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xmlns="" id="{475343A4-333F-4558-9B30-BC15AAB1A318}"/>
              </a:ext>
            </a:extLst>
          </p:cNvPr>
          <p:cNvSpPr/>
          <p:nvPr/>
        </p:nvSpPr>
        <p:spPr>
          <a:xfrm>
            <a:off x="-50782" y="1"/>
            <a:ext cx="11302409" cy="519489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xmlns="" id="{925C2EED-F692-4F64-B5C8-DBB35B8EAE13}"/>
              </a:ext>
            </a:extLst>
          </p:cNvPr>
          <p:cNvSpPr/>
          <p:nvPr/>
        </p:nvSpPr>
        <p:spPr>
          <a:xfrm>
            <a:off x="-55546" y="66454"/>
            <a:ext cx="11251630" cy="507704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xmlns="" id="{BE6E1CF5-59DA-43AB-9866-0328CF12083B}"/>
              </a:ext>
            </a:extLst>
          </p:cNvPr>
          <p:cNvSpPr/>
          <p:nvPr/>
        </p:nvSpPr>
        <p:spPr>
          <a:xfrm>
            <a:off x="-3" y="127067"/>
            <a:ext cx="11111023" cy="4949979"/>
          </a:xfrm>
          <a:prstGeom prst="homePlat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xmlns="" id="{5386A08B-7D7F-47E3-92B0-DE14688643F9}"/>
              </a:ext>
            </a:extLst>
          </p:cNvPr>
          <p:cNvSpPr/>
          <p:nvPr/>
        </p:nvSpPr>
        <p:spPr>
          <a:xfrm>
            <a:off x="-74428" y="152763"/>
            <a:ext cx="11129905" cy="4889366"/>
          </a:xfrm>
          <a:prstGeom prst="homePlat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r>
              <a:rPr lang="en-US" sz="1400" dirty="0">
                <a:ln w="0"/>
                <a:solidFill>
                  <a:schemeClr val="bg2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g DaunKeo" panose="020B0503020102020204" pitchFamily="34" charset="0"/>
                <a:cs typeface="Ang DaunKeo" panose="020B0503020102020204" pitchFamily="34" charset="0"/>
              </a:rPr>
              <a:t> </a:t>
            </a:r>
            <a:r>
              <a:rPr lang="km-KH" sz="1400" dirty="0">
                <a:ln w="0"/>
                <a:solidFill>
                  <a:schemeClr val="bg2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g DaunKeo" panose="020B0503020102020204" pitchFamily="34" charset="0"/>
                <a:cs typeface="Ang DaunKeo" panose="020B0503020102020204" pitchFamily="34" charset="0"/>
              </a:rPr>
              <a:t>[1] ការប្រើ </a:t>
            </a:r>
            <a:r>
              <a:rPr lang="en-US" sz="1400" dirty="0">
                <a:ln w="0"/>
                <a:solidFill>
                  <a:schemeClr val="bg2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g DaunKeo" panose="020B0503020102020204" pitchFamily="34" charset="0"/>
                <a:cs typeface="Ang DaunKeo" panose="020B0503020102020204" pitchFamily="34" charset="0"/>
              </a:rPr>
              <a:t>netstat</a:t>
            </a:r>
          </a:p>
          <a:p>
            <a:pPr>
              <a:lnSpc>
                <a:spcPct val="150000"/>
              </a:lnSpc>
            </a:pPr>
            <a:r>
              <a:rPr lang="en-US" sz="14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g DaunKeo" panose="020B0503020102020204" pitchFamily="34" charset="0"/>
                <a:cs typeface="Ang DaunKeo" panose="020B0503020102020204" pitchFamily="34" charset="0"/>
              </a:rPr>
              <a:t>             1. </a:t>
            </a:r>
            <a:r>
              <a:rPr lang="km-KH" sz="14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g DaunKeo" panose="020B0503020102020204" pitchFamily="34" charset="0"/>
                <a:cs typeface="Ang DaunKeo" panose="020B0503020102020204" pitchFamily="34" charset="0"/>
              </a:rPr>
              <a:t>ការប្រើ </a:t>
            </a:r>
            <a:r>
              <a:rPr lang="en-US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g DaunKeo" panose="020B0503020102020204" pitchFamily="34" charset="0"/>
                <a:cs typeface="Ang DaunKeo" panose="020B0503020102020204" pitchFamily="34" charset="0"/>
              </a:rPr>
              <a:t>netstat</a:t>
            </a:r>
            <a:endParaRPr lang="en-US" sz="14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r>
              <a:rPr lang="en-US" sz="14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g DaunKeo" panose="020B0503020102020204" pitchFamily="34" charset="0"/>
                <a:cs typeface="Ang DaunKeo" panose="020B0503020102020204" pitchFamily="34" charset="0"/>
              </a:rPr>
              <a:t>Netstat </a:t>
            </a:r>
            <a:r>
              <a:rPr lang="km-KH" sz="14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g DaunKeo" panose="020B0503020102020204" pitchFamily="34" charset="0"/>
                <a:cs typeface="Ang DaunKeo" panose="020B0503020102020204" pitchFamily="34" charset="0"/>
              </a:rPr>
              <a:t>គឺជា </a:t>
            </a:r>
            <a:r>
              <a:rPr lang="en-US" sz="14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g DaunKeo" panose="020B0503020102020204" pitchFamily="34" charset="0"/>
                <a:cs typeface="Ang DaunKeo" panose="020B0503020102020204" pitchFamily="34" charset="0"/>
              </a:rPr>
              <a:t>diagnostic tool</a:t>
            </a:r>
            <a:r>
              <a:rPr lang="km-KH" sz="14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g DaunKeo" panose="020B0503020102020204" pitchFamily="34" charset="0"/>
                <a:cs typeface="Ang DaunKeo" panose="020B0503020102020204" pitchFamily="34" charset="0"/>
              </a:rPr>
              <a:t>​​ ។ វាបង្ហាញ </a:t>
            </a:r>
            <a:r>
              <a:rPr lang="en-US" sz="14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g DaunKeo" panose="020B0503020102020204" pitchFamily="34" charset="0"/>
                <a:cs typeface="Ang DaunKeo" panose="020B0503020102020204" pitchFamily="34" charset="0"/>
              </a:rPr>
              <a:t>network connection routing table interface</a:t>
            </a:r>
          </a:p>
          <a:p>
            <a:pPr>
              <a:lnSpc>
                <a:spcPct val="150000"/>
              </a:lnSpc>
            </a:pPr>
            <a:r>
              <a:rPr lang="en-US" sz="14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g DaunKeo" panose="020B0503020102020204" pitchFamily="34" charset="0"/>
                <a:cs typeface="Ang DaunKeo" panose="020B0503020102020204" pitchFamily="34" charset="0"/>
              </a:rPr>
              <a:t>             statistic masquerade connection </a:t>
            </a:r>
            <a:r>
              <a:rPr lang="km-KH" sz="14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g DaunKeo" panose="020B0503020102020204" pitchFamily="34" charset="0"/>
                <a:cs typeface="Ang DaunKeo" panose="020B0503020102020204" pitchFamily="34" charset="0"/>
              </a:rPr>
              <a:t>និង </a:t>
            </a:r>
            <a:r>
              <a:rPr lang="en-US" sz="14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g DaunKeo" panose="020B0503020102020204" pitchFamily="34" charset="0"/>
                <a:cs typeface="Ang DaunKeo" panose="020B0503020102020204" pitchFamily="34" charset="0"/>
              </a:rPr>
              <a:t>multicast memberships</a:t>
            </a:r>
            <a:r>
              <a:rPr lang="km-KH" sz="14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g DaunKeo" panose="020B0503020102020204" pitchFamily="34" charset="0"/>
                <a:cs typeface="Ang DaunKeo" panose="020B0503020102020204" pitchFamily="34" charset="0"/>
              </a:rPr>
              <a:t>​ ។</a:t>
            </a:r>
          </a:p>
          <a:p>
            <a:pPr>
              <a:lnSpc>
                <a:spcPct val="150000"/>
              </a:lnSpc>
            </a:pPr>
            <a:r>
              <a:rPr lang="km-KH" sz="14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g DaunKeo" panose="020B0503020102020204" pitchFamily="34" charset="0"/>
                <a:cs typeface="Ang DaunKeo" panose="020B0503020102020204" pitchFamily="34" charset="0"/>
              </a:rPr>
              <a:t>​​             ឧទាហរណ៍</a:t>
            </a:r>
            <a:r>
              <a:rPr lang="en-US" sz="14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g DaunKeo" panose="020B0503020102020204" pitchFamily="34" charset="0"/>
                <a:cs typeface="Ang DaunKeo" panose="020B0503020102020204" pitchFamily="34" charset="0"/>
              </a:rPr>
              <a:t>:</a:t>
            </a:r>
          </a:p>
          <a:p>
            <a:pPr>
              <a:lnSpc>
                <a:spcPct val="150000"/>
              </a:lnSpc>
            </a:pPr>
            <a:r>
              <a:rPr lang="en-US" sz="1400" dirty="0">
                <a:ln w="0"/>
                <a:solidFill>
                  <a:schemeClr val="bg2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g DaunKeo" panose="020B0503020102020204" pitchFamily="34" charset="0"/>
                <a:cs typeface="Ang DaunKeo" panose="020B0503020102020204" pitchFamily="34" charset="0"/>
              </a:rPr>
              <a:t>            #netstat -ap</a:t>
            </a:r>
          </a:p>
          <a:p>
            <a:pPr>
              <a:lnSpc>
                <a:spcPct val="150000"/>
              </a:lnSpc>
            </a:pPr>
            <a:r>
              <a:rPr lang="en-US" sz="14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g DaunKeo" panose="020B0503020102020204" pitchFamily="34" charset="0"/>
                <a:cs typeface="Ang DaunKeo" panose="020B0503020102020204" pitchFamily="34" charset="0"/>
              </a:rPr>
              <a:t>                         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E84118"/>
              </a:solidFill>
              <a:effectLst/>
              <a:uLnTx/>
              <a:uFillTx/>
              <a:latin typeface="Ang DaunKeo" panose="020B0503020102020204" pitchFamily="34" charset="0"/>
              <a:cs typeface="Ang DaunKeo" panose="020B0503020102020204" pitchFamily="34" charset="0"/>
              <a:sym typeface="Arial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1A6F54B5-0441-4560-B588-51F6748A10E7}"/>
              </a:ext>
            </a:extLst>
          </p:cNvPr>
          <p:cNvSpPr/>
          <p:nvPr/>
        </p:nvSpPr>
        <p:spPr>
          <a:xfrm>
            <a:off x="853933" y="303302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E76D8363-97F8-4D84-B055-4CAB5AF1B9B9}"/>
              </a:ext>
            </a:extLst>
          </p:cNvPr>
          <p:cNvSpPr/>
          <p:nvPr/>
        </p:nvSpPr>
        <p:spPr>
          <a:xfrm>
            <a:off x="1161896" y="303302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E1E5901C-75B9-4255-B79F-AFC39A71CB5A}"/>
              </a:ext>
            </a:extLst>
          </p:cNvPr>
          <p:cNvSpPr/>
          <p:nvPr/>
        </p:nvSpPr>
        <p:spPr>
          <a:xfrm>
            <a:off x="1777821" y="303302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5B68763A-C0FE-4288-99F2-5FD3D1D6259F}"/>
              </a:ext>
            </a:extLst>
          </p:cNvPr>
          <p:cNvSpPr/>
          <p:nvPr/>
        </p:nvSpPr>
        <p:spPr>
          <a:xfrm>
            <a:off x="2085784" y="303302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36678E34-C42F-4272-A80C-040E642AF4BE}"/>
              </a:ext>
            </a:extLst>
          </p:cNvPr>
          <p:cNvSpPr/>
          <p:nvPr/>
        </p:nvSpPr>
        <p:spPr>
          <a:xfrm>
            <a:off x="2393745" y="303302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12996ED4-A971-4578-B5CD-3D91B7A50B7D}"/>
              </a:ext>
            </a:extLst>
          </p:cNvPr>
          <p:cNvSpPr/>
          <p:nvPr/>
        </p:nvSpPr>
        <p:spPr>
          <a:xfrm>
            <a:off x="1469859" y="303302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xmlns="" id="{F4FC888B-7FCA-46F6-B3EA-F5E5A44DE1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03568" y="250851"/>
            <a:ext cx="1025765" cy="301519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xmlns="" id="{3AF8591F-F851-4C72-BCB4-63E779F403D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8170626" y="213443"/>
            <a:ext cx="387695" cy="39549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xmlns="" id="{35D16E24-22B0-4E8D-9810-6B3E961EC16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87033" y="1512507"/>
            <a:ext cx="7824233" cy="3375812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511537710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5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6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0FC3722-8F96-43A5-A133-2ADF5CE88875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xmlns="" id="{475343A4-333F-4558-9B30-BC15AAB1A318}"/>
              </a:ext>
            </a:extLst>
          </p:cNvPr>
          <p:cNvSpPr/>
          <p:nvPr/>
        </p:nvSpPr>
        <p:spPr>
          <a:xfrm>
            <a:off x="-50782" y="1"/>
            <a:ext cx="11302409" cy="519489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xmlns="" id="{925C2EED-F692-4F64-B5C8-DBB35B8EAE13}"/>
              </a:ext>
            </a:extLst>
          </p:cNvPr>
          <p:cNvSpPr/>
          <p:nvPr/>
        </p:nvSpPr>
        <p:spPr>
          <a:xfrm>
            <a:off x="-55546" y="66454"/>
            <a:ext cx="11251630" cy="507704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xmlns="" id="{BE6E1CF5-59DA-43AB-9866-0328CF12083B}"/>
              </a:ext>
            </a:extLst>
          </p:cNvPr>
          <p:cNvSpPr/>
          <p:nvPr/>
        </p:nvSpPr>
        <p:spPr>
          <a:xfrm>
            <a:off x="-3" y="127067"/>
            <a:ext cx="11111023" cy="4949979"/>
          </a:xfrm>
          <a:prstGeom prst="homePlat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xmlns="" id="{5386A08B-7D7F-47E3-92B0-DE14688643F9}"/>
              </a:ext>
            </a:extLst>
          </p:cNvPr>
          <p:cNvSpPr/>
          <p:nvPr/>
        </p:nvSpPr>
        <p:spPr>
          <a:xfrm>
            <a:off x="-74428" y="152763"/>
            <a:ext cx="11129905" cy="4889366"/>
          </a:xfrm>
          <a:prstGeom prst="homePlat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endParaRPr lang="en-US" sz="14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r>
              <a:rPr lang="km-KH" sz="14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g DaunKeo" panose="020B0503020102020204" pitchFamily="34" charset="0"/>
                <a:cs typeface="Ang DaunKeo" panose="020B0503020102020204" pitchFamily="34" charset="0"/>
              </a:rPr>
              <a:t> [2] ការប្រើ </a:t>
            </a:r>
            <a:r>
              <a:rPr lang="en-US" sz="14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g DaunKeo" panose="020B0503020102020204" pitchFamily="34" charset="0"/>
                <a:cs typeface="Ang DaunKeo" panose="020B0503020102020204" pitchFamily="34" charset="0"/>
              </a:rPr>
              <a:t>traceroute</a:t>
            </a:r>
          </a:p>
          <a:p>
            <a:pPr>
              <a:lnSpc>
                <a:spcPct val="150000"/>
              </a:lnSpc>
            </a:pPr>
            <a:r>
              <a:rPr lang="en-US" sz="14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g DaunKeo" panose="020B0503020102020204" pitchFamily="34" charset="0"/>
                <a:cs typeface="Ang DaunKeo" panose="020B0503020102020204" pitchFamily="34" charset="0"/>
              </a:rPr>
              <a:t>             	</a:t>
            </a:r>
            <a:r>
              <a:rPr lang="km-KH" sz="14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g DaunKeo" panose="020B0503020102020204" pitchFamily="34" charset="0"/>
                <a:cs typeface="Ang DaunKeo" panose="020B0503020102020204" pitchFamily="34" charset="0"/>
              </a:rPr>
              <a:t>សម្រាប់បង្ហាញពី ​</a:t>
            </a:r>
            <a:r>
              <a:rPr lang="en-US" sz="14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g DaunKeo" panose="020B0503020102020204" pitchFamily="34" charset="0"/>
                <a:cs typeface="Ang DaunKeo" panose="020B0503020102020204" pitchFamily="34" charset="0"/>
              </a:rPr>
              <a:t>route packet </a:t>
            </a:r>
            <a:r>
              <a:rPr lang="km-KH" sz="14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g DaunKeo" panose="020B0503020102020204" pitchFamily="34" charset="0"/>
                <a:cs typeface="Ang DaunKeo" panose="020B0503020102020204" pitchFamily="34" charset="0"/>
              </a:rPr>
              <a:t>ដែលបានកំណត់ពី </a:t>
            </a:r>
            <a:r>
              <a:rPr lang="en-US" sz="14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g DaunKeo" panose="020B0503020102020204" pitchFamily="34" charset="0"/>
                <a:cs typeface="Ang DaunKeo" panose="020B0503020102020204" pitchFamily="34" charset="0"/>
              </a:rPr>
              <a:t>Network host </a:t>
            </a:r>
            <a:r>
              <a:rPr lang="km-KH" sz="14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g DaunKeo" panose="020B0503020102020204" pitchFamily="34" charset="0"/>
                <a:cs typeface="Ang DaunKeo" panose="020B0503020102020204" pitchFamily="34" charset="0"/>
              </a:rPr>
              <a:t>។</a:t>
            </a:r>
          </a:p>
          <a:p>
            <a:pPr>
              <a:lnSpc>
                <a:spcPct val="150000"/>
              </a:lnSpc>
            </a:pPr>
            <a:r>
              <a:rPr lang="km-KH" sz="14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g DaunKeo" panose="020B0503020102020204" pitchFamily="34" charset="0"/>
                <a:cs typeface="Ang DaunKeo" panose="020B0503020102020204" pitchFamily="34" charset="0"/>
              </a:rPr>
              <a:t>            #</a:t>
            </a:r>
            <a:r>
              <a:rPr lang="en-US" sz="14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g DaunKeo" panose="020B0503020102020204" pitchFamily="34" charset="0"/>
                <a:cs typeface="Ang DaunKeo" panose="020B0503020102020204" pitchFamily="34" charset="0"/>
              </a:rPr>
              <a:t>traceroute www.yahoo.com</a:t>
            </a:r>
          </a:p>
          <a:p>
            <a:pPr>
              <a:lnSpc>
                <a:spcPct val="150000"/>
              </a:lnSpc>
            </a:pPr>
            <a:r>
              <a:rPr lang="en-US" sz="14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g DaunKeo" panose="020B0503020102020204" pitchFamily="34" charset="0"/>
                <a:cs typeface="Ang DaunKeo" panose="020B0503020102020204" pitchFamily="34" charset="0"/>
              </a:rPr>
              <a:t> 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ng DaunKeo" panose="020B0503020102020204" pitchFamily="34" charset="0"/>
              <a:cs typeface="Ang DaunKeo" panose="020B0503020102020204" pitchFamily="34" charset="0"/>
              <a:sym typeface="Arial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1A6F54B5-0441-4560-B588-51F6748A10E7}"/>
              </a:ext>
            </a:extLst>
          </p:cNvPr>
          <p:cNvSpPr/>
          <p:nvPr/>
        </p:nvSpPr>
        <p:spPr>
          <a:xfrm>
            <a:off x="853933" y="303302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E76D8363-97F8-4D84-B055-4CAB5AF1B9B9}"/>
              </a:ext>
            </a:extLst>
          </p:cNvPr>
          <p:cNvSpPr/>
          <p:nvPr/>
        </p:nvSpPr>
        <p:spPr>
          <a:xfrm>
            <a:off x="1161896" y="303302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E1E5901C-75B9-4255-B79F-AFC39A71CB5A}"/>
              </a:ext>
            </a:extLst>
          </p:cNvPr>
          <p:cNvSpPr/>
          <p:nvPr/>
        </p:nvSpPr>
        <p:spPr>
          <a:xfrm>
            <a:off x="1777821" y="303302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5B68763A-C0FE-4288-99F2-5FD3D1D6259F}"/>
              </a:ext>
            </a:extLst>
          </p:cNvPr>
          <p:cNvSpPr/>
          <p:nvPr/>
        </p:nvSpPr>
        <p:spPr>
          <a:xfrm>
            <a:off x="2085784" y="303302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36678E34-C42F-4272-A80C-040E642AF4BE}"/>
              </a:ext>
            </a:extLst>
          </p:cNvPr>
          <p:cNvSpPr/>
          <p:nvPr/>
        </p:nvSpPr>
        <p:spPr>
          <a:xfrm>
            <a:off x="2393745" y="303302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12996ED4-A971-4578-B5CD-3D91B7A50B7D}"/>
              </a:ext>
            </a:extLst>
          </p:cNvPr>
          <p:cNvSpPr/>
          <p:nvPr/>
        </p:nvSpPr>
        <p:spPr>
          <a:xfrm>
            <a:off x="1469859" y="303302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xmlns="" id="{F4FC888B-7FCA-46F6-B3EA-F5E5A44DE1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03568" y="250851"/>
            <a:ext cx="1025765" cy="301519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xmlns="" id="{3AF8591F-F851-4C72-BCB4-63E779F403D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8170626" y="213443"/>
            <a:ext cx="387695" cy="395497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xmlns="" id="{8ED9216C-B34E-443F-A0B3-37E3338E5044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354"/>
          <a:stretch/>
        </p:blipFill>
        <p:spPr>
          <a:xfrm>
            <a:off x="451582" y="1679351"/>
            <a:ext cx="8043264" cy="278796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301602439"/>
      </p:ext>
    </p:extLst>
  </p:cSld>
  <p:clrMapOvr>
    <a:masterClrMapping/>
  </p:clrMapOvr>
  <p:transition spd="slow">
    <p:cover/>
  </p:transition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0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0FC3722-8F96-43A5-A133-2ADF5CE88875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xmlns="" id="{475343A4-333F-4558-9B30-BC15AAB1A318}"/>
              </a:ext>
            </a:extLst>
          </p:cNvPr>
          <p:cNvSpPr/>
          <p:nvPr/>
        </p:nvSpPr>
        <p:spPr>
          <a:xfrm>
            <a:off x="-50782" y="1"/>
            <a:ext cx="11302409" cy="519489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xmlns="" id="{925C2EED-F692-4F64-B5C8-DBB35B8EAE13}"/>
              </a:ext>
            </a:extLst>
          </p:cNvPr>
          <p:cNvSpPr/>
          <p:nvPr/>
        </p:nvSpPr>
        <p:spPr>
          <a:xfrm>
            <a:off x="-55546" y="66454"/>
            <a:ext cx="11251630" cy="507704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xmlns="" id="{BE6E1CF5-59DA-43AB-9866-0328CF12083B}"/>
              </a:ext>
            </a:extLst>
          </p:cNvPr>
          <p:cNvSpPr/>
          <p:nvPr/>
        </p:nvSpPr>
        <p:spPr>
          <a:xfrm>
            <a:off x="-3" y="127067"/>
            <a:ext cx="11111023" cy="4949979"/>
          </a:xfrm>
          <a:prstGeom prst="homePlat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xmlns="" id="{5386A08B-7D7F-47E3-92B0-DE14688643F9}"/>
              </a:ext>
            </a:extLst>
          </p:cNvPr>
          <p:cNvSpPr/>
          <p:nvPr/>
        </p:nvSpPr>
        <p:spPr>
          <a:xfrm>
            <a:off x="-74428" y="152763"/>
            <a:ext cx="11129905" cy="4889366"/>
          </a:xfrm>
          <a:prstGeom prst="homePlat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r>
              <a:rPr lang="en-US" sz="14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</a:p>
          <a:p>
            <a:pPr>
              <a:lnSpc>
                <a:spcPct val="150000"/>
              </a:lnSpc>
            </a:pPr>
            <a:r>
              <a:rPr lang="en-US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r>
              <a:rPr lang="km-KH" sz="14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g DaunKeo" panose="020B0503020102020204" pitchFamily="34" charset="0"/>
                <a:cs typeface="Ang DaunKeo" panose="020B0503020102020204" pitchFamily="34" charset="0"/>
              </a:rPr>
              <a:t> [3] ការប្រើ </a:t>
            </a:r>
            <a:r>
              <a:rPr lang="en-US" sz="140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g DaunKeo" panose="020B0503020102020204" pitchFamily="34" charset="0"/>
                <a:cs typeface="Ang DaunKeo" panose="020B0503020102020204" pitchFamily="34" charset="0"/>
              </a:rPr>
              <a:t>tcpdump</a:t>
            </a:r>
            <a:endParaRPr lang="en-US" sz="14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4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g DaunKeo" panose="020B0503020102020204" pitchFamily="34" charset="0"/>
                <a:cs typeface="Ang DaunKeo" panose="020B0503020102020204" pitchFamily="34" charset="0"/>
              </a:rPr>
              <a:t>             		</a:t>
            </a:r>
            <a:r>
              <a:rPr lang="km-KH" sz="14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g DaunKeo" panose="020B0503020102020204" pitchFamily="34" charset="0"/>
                <a:cs typeface="Ang DaunKeo" panose="020B0503020102020204" pitchFamily="34" charset="0"/>
              </a:rPr>
              <a:t>វាគឺជា </a:t>
            </a:r>
            <a:r>
              <a:rPr lang="en-US" sz="14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g DaunKeo" panose="020B0503020102020204" pitchFamily="34" charset="0"/>
                <a:cs typeface="Ang DaunKeo" panose="020B0503020102020204" pitchFamily="34" charset="0"/>
              </a:rPr>
              <a:t>Packet sniffer </a:t>
            </a:r>
            <a:r>
              <a:rPr lang="km-KH" sz="14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g DaunKeo" panose="020B0503020102020204" pitchFamily="34" charset="0"/>
                <a:cs typeface="Ang DaunKeo" panose="020B0503020102020204" pitchFamily="34" charset="0"/>
              </a:rPr>
              <a:t>។​​ វាជា </a:t>
            </a:r>
            <a:r>
              <a:rPr lang="en-US" sz="14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g DaunKeo" panose="020B0503020102020204" pitchFamily="34" charset="0"/>
                <a:cs typeface="Ang DaunKeo" panose="020B0503020102020204" pitchFamily="34" charset="0"/>
              </a:rPr>
              <a:t>Program </a:t>
            </a:r>
            <a:r>
              <a:rPr lang="km-KH" sz="14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g DaunKeo" panose="020B0503020102020204" pitchFamily="34" charset="0"/>
                <a:cs typeface="Ang DaunKeo" panose="020B0503020102020204" pitchFamily="34" charset="0"/>
              </a:rPr>
              <a:t>មួយដែលទទួលយក </a:t>
            </a:r>
            <a:r>
              <a:rPr lang="en-US" sz="14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g DaunKeo" panose="020B0503020102020204" pitchFamily="34" charset="0"/>
                <a:cs typeface="Ang DaunKeo" panose="020B0503020102020204" pitchFamily="34" charset="0"/>
              </a:rPr>
              <a:t>Network packets </a:t>
            </a:r>
            <a:r>
              <a:rPr lang="km-KH" sz="14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g DaunKeo" panose="020B0503020102020204" pitchFamily="34" charset="0"/>
                <a:cs typeface="Ang DaunKeo" panose="020B0503020102020204" pitchFamily="34" charset="0"/>
              </a:rPr>
              <a:t>ហើយ</a:t>
            </a:r>
            <a:endParaRPr lang="en-US" sz="14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g DaunKeo" panose="020B0503020102020204" pitchFamily="34" charset="0"/>
                <a:cs typeface="Ang DaunKeo" panose="020B0503020102020204" pitchFamily="34" charset="0"/>
              </a:rPr>
              <a:t>		</a:t>
            </a:r>
            <a:r>
              <a:rPr lang="km-KH" sz="14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ng DaunKeo" panose="020B0503020102020204" pitchFamily="34" charset="0"/>
                <a:cs typeface="Ang DaunKeo" panose="020B0503020102020204" pitchFamily="34" charset="0"/>
              </a:rPr>
              <a:t>កត់ត្រាវាឬបង្ហាញលើអេក្រង់​។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ng DaunKeo" panose="020B0503020102020204" pitchFamily="34" charset="0"/>
              <a:cs typeface="Ang DaunKeo" panose="020B0503020102020204" pitchFamily="34" charset="0"/>
              <a:sym typeface="Arial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1A6F54B5-0441-4560-B588-51F6748A10E7}"/>
              </a:ext>
            </a:extLst>
          </p:cNvPr>
          <p:cNvSpPr/>
          <p:nvPr/>
        </p:nvSpPr>
        <p:spPr>
          <a:xfrm>
            <a:off x="853933" y="303302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E76D8363-97F8-4D84-B055-4CAB5AF1B9B9}"/>
              </a:ext>
            </a:extLst>
          </p:cNvPr>
          <p:cNvSpPr/>
          <p:nvPr/>
        </p:nvSpPr>
        <p:spPr>
          <a:xfrm>
            <a:off x="1161896" y="303302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E1E5901C-75B9-4255-B79F-AFC39A71CB5A}"/>
              </a:ext>
            </a:extLst>
          </p:cNvPr>
          <p:cNvSpPr/>
          <p:nvPr/>
        </p:nvSpPr>
        <p:spPr>
          <a:xfrm>
            <a:off x="1777821" y="303302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5B68763A-C0FE-4288-99F2-5FD3D1D6259F}"/>
              </a:ext>
            </a:extLst>
          </p:cNvPr>
          <p:cNvSpPr/>
          <p:nvPr/>
        </p:nvSpPr>
        <p:spPr>
          <a:xfrm>
            <a:off x="2085784" y="303302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36678E34-C42F-4272-A80C-040E642AF4BE}"/>
              </a:ext>
            </a:extLst>
          </p:cNvPr>
          <p:cNvSpPr/>
          <p:nvPr/>
        </p:nvSpPr>
        <p:spPr>
          <a:xfrm>
            <a:off x="2393745" y="303302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12996ED4-A971-4578-B5CD-3D91B7A50B7D}"/>
              </a:ext>
            </a:extLst>
          </p:cNvPr>
          <p:cNvSpPr/>
          <p:nvPr/>
        </p:nvSpPr>
        <p:spPr>
          <a:xfrm>
            <a:off x="1469859" y="303302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xmlns="" id="{F4FC888B-7FCA-46F6-B3EA-F5E5A44DE1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03568" y="250851"/>
            <a:ext cx="1025765" cy="301519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xmlns="" id="{3AF8591F-F851-4C72-BCB4-63E779F403D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8170626" y="213443"/>
            <a:ext cx="387695" cy="39549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xmlns="" id="{67767A9C-925F-4D4D-A9BB-8AB3F3872222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r="620"/>
          <a:stretch/>
        </p:blipFill>
        <p:spPr>
          <a:xfrm>
            <a:off x="373563" y="1562729"/>
            <a:ext cx="8184758" cy="3367328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338805412"/>
      </p:ext>
    </p:extLst>
  </p:cSld>
  <p:clrMapOvr>
    <a:masterClrMapping/>
  </p:clrMapOvr>
  <p:transition spd="slow">
    <p:cover/>
  </p:transition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4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983EDB11-5B99-4F09-9BC7-D746870E1C4E}"/>
              </a:ext>
            </a:extLst>
          </p:cNvPr>
          <p:cNvSpPr/>
          <p:nvPr/>
        </p:nvSpPr>
        <p:spPr>
          <a:xfrm>
            <a:off x="874767" y="1533036"/>
            <a:ext cx="3129771" cy="166574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tIns="54864" rIns="54864" bIns="54864" numCol="1" rtlCol="0" anchor="ctr"/>
          <a:lstStyle/>
          <a:p>
            <a:pPr marL="0" marR="0" lvl="0" indent="0" algn="ctr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925" b="0" i="0" u="none" strike="noStrike" kern="0" cap="none" spc="0" normalizeH="0" baseline="0" noProof="0" dirty="0">
                <a:ln>
                  <a:noFill/>
                </a:ln>
                <a:solidFill>
                  <a:srgbClr val="273C75">
                    <a:lumMod val="20000"/>
                    <a:lumOff val="80000"/>
                  </a:srgbClr>
                </a:solidFill>
                <a:effectLst/>
                <a:uLnTx/>
                <a:uFillTx/>
                <a:latin typeface="សម្រាប់កូនខ្មែរ" panose="02000500000000020004" pitchFamily="2" charset="0"/>
                <a:ea typeface="+mn-ea"/>
                <a:cs typeface="សម្រាប់កូនខ្មែរ" panose="02000500000000020004" pitchFamily="2" charset="0"/>
                <a:sym typeface="Arial"/>
              </a:rPr>
              <a:t>1.4</a:t>
            </a:r>
            <a:endParaRPr kumimoji="0" lang="en-US" sz="750" b="0" i="0" u="none" strike="noStrike" kern="0" cap="none" spc="0" normalizeH="0" baseline="0" noProof="0" dirty="0">
              <a:ln>
                <a:noFill/>
              </a:ln>
              <a:solidFill>
                <a:srgbClr val="273C75">
                  <a:lumMod val="20000"/>
                  <a:lumOff val="80000"/>
                </a:srgbClr>
              </a:solidFill>
              <a:effectLst/>
              <a:uLnTx/>
              <a:uFillTx/>
              <a:latin typeface="សម្រាប់កូនខ្មែរ" panose="02000500000000020004" pitchFamily="2" charset="0"/>
              <a:ea typeface="+mn-ea"/>
              <a:cs typeface="សម្រាប់កូនខ្មែរ" panose="02000500000000020004" pitchFamily="2" charset="0"/>
              <a:sym typeface="Arial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CA0D9CDC-ABFA-43C8-8F37-F5B8682C8A96}"/>
              </a:ext>
            </a:extLst>
          </p:cNvPr>
          <p:cNvSpPr/>
          <p:nvPr/>
        </p:nvSpPr>
        <p:spPr>
          <a:xfrm>
            <a:off x="4025398" y="1478151"/>
            <a:ext cx="4143126" cy="19485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altLang="de-DE" sz="1350" b="0" i="0" u="none" strike="noStrike" kern="120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72BA5E31-8C76-4878-8E9A-40C31B4AFA64}"/>
              </a:ext>
            </a:extLst>
          </p:cNvPr>
          <p:cNvSpPr/>
          <p:nvPr/>
        </p:nvSpPr>
        <p:spPr>
          <a:xfrm>
            <a:off x="4125685" y="1222218"/>
            <a:ext cx="5018315" cy="26990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de-DE" altLang="de-DE" sz="1350" b="0" i="0" u="none" strike="noStrike" kern="120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33CFFF82-1DE1-4847-A9A2-AA670A313F9F}"/>
              </a:ext>
            </a:extLst>
          </p:cNvPr>
          <p:cNvSpPr txBox="1"/>
          <p:nvPr/>
        </p:nvSpPr>
        <p:spPr>
          <a:xfrm>
            <a:off x="4401801" y="1603158"/>
            <a:ext cx="1261564" cy="738664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km-KH" altLang="de-DE" sz="4800" b="0" i="0" u="none" strike="noStrike" kern="0" cap="none" spc="0" normalizeH="0" baseline="0" noProof="0" dirty="0">
                <a:ln>
                  <a:noFill/>
                </a:ln>
                <a:solidFill>
                  <a:srgbClr val="FF560D"/>
                </a:solidFill>
                <a:effectLst/>
                <a:uLnTx/>
                <a:uFillTx/>
                <a:latin typeface="Khmer Moul" panose="02060603050605020204" pitchFamily="18" charset="0"/>
                <a:cs typeface="MoolBoran" panose="020B0100010101010101" pitchFamily="34" charset="0"/>
                <a:sym typeface="Arial"/>
              </a:rPr>
              <a:t>ជំពូកទី</a:t>
            </a:r>
            <a:r>
              <a:rPr kumimoji="0" lang="en-US" altLang="de-DE" sz="3600" b="0" i="0" u="none" strike="noStrike" kern="0" cap="none" spc="0" normalizeH="0" baseline="0" noProof="0" dirty="0">
                <a:ln>
                  <a:noFill/>
                </a:ln>
                <a:solidFill>
                  <a:srgbClr val="FF560D"/>
                </a:solidFill>
                <a:effectLst/>
                <a:uLnTx/>
                <a:uFillTx/>
                <a:latin typeface="Khmer Moul" panose="02060603050605020204" pitchFamily="18" charset="0"/>
                <a:cs typeface="Arial"/>
                <a:sym typeface="Arial"/>
              </a:rPr>
              <a:t>7</a:t>
            </a:r>
            <a:endParaRPr kumimoji="0" lang="de-DE" altLang="de-DE" sz="4800" b="0" i="0" u="none" strike="noStrike" kern="0" cap="none" spc="0" normalizeH="0" baseline="0" noProof="0" dirty="0">
              <a:ln>
                <a:noFill/>
              </a:ln>
              <a:solidFill>
                <a:srgbClr val="FF560D"/>
              </a:solidFill>
              <a:effectLst/>
              <a:uLnTx/>
              <a:uFillTx/>
              <a:latin typeface="Khmer Moul" panose="02060603050605020204" pitchFamily="18" charset="0"/>
              <a:cs typeface="Arial"/>
              <a:sym typeface="Arial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0681B20C-C864-4359-BC1C-DFEC6BA765B5}"/>
              </a:ext>
            </a:extLst>
          </p:cNvPr>
          <p:cNvSpPr txBox="1"/>
          <p:nvPr/>
        </p:nvSpPr>
        <p:spPr>
          <a:xfrm>
            <a:off x="4401801" y="2432347"/>
            <a:ext cx="4233678" cy="738664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lvl="0" defTabSz="685800">
              <a:buClrTx/>
            </a:pPr>
            <a:r>
              <a:rPr lang="km-KH" altLang="de-DE" sz="2400" b="1" kern="1200" dirty="0">
                <a:solidFill>
                  <a:srgbClr val="7F8FA1"/>
                </a:solidFill>
                <a:latin typeface="Ang DaunKeo" panose="020B0503020102020204" pitchFamily="34" charset="0"/>
                <a:ea typeface="+mn-ea"/>
                <a:cs typeface="Ang DaunKeo" panose="020B0503020102020204" pitchFamily="34" charset="0"/>
              </a:rPr>
              <a:t>ការគ្រប់គ្រងទៅលើឧបករណ៍​ដោយប្រើឃ្លាបញ្ជា</a:t>
            </a:r>
            <a:endParaRPr kumimoji="0" lang="de-DE" altLang="de-DE" sz="2400" b="0" i="0" u="none" strike="noStrike" kern="1200" cap="none" spc="0" normalizeH="0" baseline="0" noProof="0" dirty="0">
              <a:ln>
                <a:noFill/>
              </a:ln>
              <a:solidFill>
                <a:srgbClr val="7F8FA1"/>
              </a:solidFill>
              <a:effectLst/>
              <a:uLnTx/>
              <a:uFillTx/>
              <a:latin typeface="Segoe UI Semibold"/>
              <a:ea typeface="+mn-ea"/>
              <a:cs typeface="Arial"/>
              <a:sym typeface="Arial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FA54DFA4-1B97-4CD6-B795-B70E0424D156}"/>
              </a:ext>
            </a:extLst>
          </p:cNvPr>
          <p:cNvSpPr/>
          <p:nvPr/>
        </p:nvSpPr>
        <p:spPr>
          <a:xfrm>
            <a:off x="7612912" y="159488"/>
            <a:ext cx="1297172" cy="824075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69946724-2D54-48A7-9539-A82D10771066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C0B965AB-3747-4B98-83DF-C779D1E3DE36}"/>
              </a:ext>
            </a:extLst>
          </p:cNvPr>
          <p:cNvSpPr/>
          <p:nvPr/>
        </p:nvSpPr>
        <p:spPr>
          <a:xfrm>
            <a:off x="6861336" y="196976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B6756B98-DC4E-4FA6-AC3F-E53B868F7DB5}"/>
              </a:ext>
            </a:extLst>
          </p:cNvPr>
          <p:cNvSpPr/>
          <p:nvPr/>
        </p:nvSpPr>
        <p:spPr>
          <a:xfrm>
            <a:off x="7169299" y="196976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EF4DB23B-BC21-4234-8AB3-F0A5EF83D26F}"/>
              </a:ext>
            </a:extLst>
          </p:cNvPr>
          <p:cNvSpPr/>
          <p:nvPr/>
        </p:nvSpPr>
        <p:spPr>
          <a:xfrm>
            <a:off x="7785224" y="196976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9B2828ED-F04E-4ADA-85A3-A1B87AF1E746}"/>
              </a:ext>
            </a:extLst>
          </p:cNvPr>
          <p:cNvSpPr/>
          <p:nvPr/>
        </p:nvSpPr>
        <p:spPr>
          <a:xfrm>
            <a:off x="8093187" y="196976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DDBB23F9-8DEF-405B-B4F7-03C89B19613A}"/>
              </a:ext>
            </a:extLst>
          </p:cNvPr>
          <p:cNvSpPr/>
          <p:nvPr/>
        </p:nvSpPr>
        <p:spPr>
          <a:xfrm>
            <a:off x="8401148" y="196976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35AB9EEE-409B-4D41-B6E2-3740EA8BD6F2}"/>
              </a:ext>
            </a:extLst>
          </p:cNvPr>
          <p:cNvSpPr/>
          <p:nvPr/>
        </p:nvSpPr>
        <p:spPr>
          <a:xfrm>
            <a:off x="7477262" y="196976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93D716F7-2F24-414E-B475-C8B10107288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0330" y="144525"/>
            <a:ext cx="1025765" cy="30151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xmlns="" id="{5F038926-F43D-4021-B666-D117D4F7A7EF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1897388" y="107117"/>
            <a:ext cx="387695" cy="395497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24006701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2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2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9" grpId="0"/>
      <p:bldP spid="20" grpId="0"/>
    </p:bld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8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0FC3722-8F96-43A5-A133-2ADF5CE88875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xmlns="" id="{475343A4-333F-4558-9B30-BC15AAB1A318}"/>
              </a:ext>
            </a:extLst>
          </p:cNvPr>
          <p:cNvSpPr/>
          <p:nvPr/>
        </p:nvSpPr>
        <p:spPr>
          <a:xfrm>
            <a:off x="-50782" y="1"/>
            <a:ext cx="11302409" cy="519489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xmlns="" id="{925C2EED-F692-4F64-B5C8-DBB35B8EAE13}"/>
              </a:ext>
            </a:extLst>
          </p:cNvPr>
          <p:cNvSpPr/>
          <p:nvPr/>
        </p:nvSpPr>
        <p:spPr>
          <a:xfrm>
            <a:off x="-55546" y="66454"/>
            <a:ext cx="11251630" cy="507704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xmlns="" id="{BE6E1CF5-59DA-43AB-9866-0328CF12083B}"/>
              </a:ext>
            </a:extLst>
          </p:cNvPr>
          <p:cNvSpPr/>
          <p:nvPr/>
        </p:nvSpPr>
        <p:spPr>
          <a:xfrm>
            <a:off x="-3" y="127067"/>
            <a:ext cx="11111023" cy="4949979"/>
          </a:xfrm>
          <a:prstGeom prst="homePlat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xmlns="" id="{5386A08B-7D7F-47E3-92B0-DE14688643F9}"/>
              </a:ext>
            </a:extLst>
          </p:cNvPr>
          <p:cNvSpPr/>
          <p:nvPr/>
        </p:nvSpPr>
        <p:spPr>
          <a:xfrm>
            <a:off x="-74428" y="152763"/>
            <a:ext cx="11129905" cy="4889366"/>
          </a:xfrm>
          <a:prstGeom prst="homePlat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kumimoji="0" lang="en-US" sz="140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ng DaunKeo" panose="020B0503020102020204" pitchFamily="34" charset="0"/>
              <a:cs typeface="Ang DaunKeo" panose="020B0503020102020204" pitchFamily="34" charset="0"/>
              <a:sym typeface="Arial"/>
            </a:endParaRPr>
          </a:p>
          <a:p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</a:p>
          <a:p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r>
              <a:rPr lang="km-KH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១</a:t>
            </a: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.</a:t>
            </a:r>
            <a:r>
              <a:rPr lang="km-KH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ការដាក់ឈ្មោះអោយ</a:t>
            </a: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Host </a:t>
            </a:r>
            <a:r>
              <a:rPr lang="km-KH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/>
            </a:r>
            <a:br>
              <a:rPr lang="km-KH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</a:br>
            <a:endParaRPr lang="en-US" sz="1400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endParaRPr lang="en-US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</a:p>
          <a:p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r>
              <a:rPr lang="km-KH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២.ការបង្ហាញឈ្មោះ </a:t>
            </a: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Device </a:t>
            </a:r>
          </a:p>
          <a:p>
            <a:endParaRPr lang="en-US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endParaRPr lang="en-US" sz="1400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endParaRPr lang="en-US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r>
              <a:rPr lang="km-KH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/>
            </a:r>
            <a:br>
              <a:rPr lang="km-KH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</a:b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</a:p>
          <a:p>
            <a:endParaRPr lang="en-US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r>
              <a:rPr lang="km-KH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៣</a:t>
            </a: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.</a:t>
            </a:r>
            <a:r>
              <a:rPr lang="km-KH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ការកំណត់ </a:t>
            </a: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IP Address</a:t>
            </a:r>
          </a:p>
          <a:p>
            <a:endParaRPr lang="en-US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endParaRPr lang="en-US" sz="1400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</a:p>
          <a:p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r>
              <a:rPr lang="km-KH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៤.ការកំណត់ </a:t>
            </a: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Default Gateway</a:t>
            </a:r>
            <a:b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</a:b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/>
            </a:r>
            <a:b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</a:b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/>
            </a:r>
            <a:b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</a:b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/>
            </a:r>
            <a:b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</a:br>
            <a:endParaRPr kumimoji="0" lang="en-US" sz="140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ng DaunKeo" panose="020B0503020102020204" pitchFamily="34" charset="0"/>
              <a:cs typeface="Ang DaunKeo" panose="020B0503020102020204" pitchFamily="34" charset="0"/>
              <a:sym typeface="Arial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1A6F54B5-0441-4560-B588-51F6748A10E7}"/>
              </a:ext>
            </a:extLst>
          </p:cNvPr>
          <p:cNvSpPr/>
          <p:nvPr/>
        </p:nvSpPr>
        <p:spPr>
          <a:xfrm>
            <a:off x="853933" y="303302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E76D8363-97F8-4D84-B055-4CAB5AF1B9B9}"/>
              </a:ext>
            </a:extLst>
          </p:cNvPr>
          <p:cNvSpPr/>
          <p:nvPr/>
        </p:nvSpPr>
        <p:spPr>
          <a:xfrm>
            <a:off x="1161896" y="303302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E1E5901C-75B9-4255-B79F-AFC39A71CB5A}"/>
              </a:ext>
            </a:extLst>
          </p:cNvPr>
          <p:cNvSpPr/>
          <p:nvPr/>
        </p:nvSpPr>
        <p:spPr>
          <a:xfrm>
            <a:off x="1777821" y="303302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5B68763A-C0FE-4288-99F2-5FD3D1D6259F}"/>
              </a:ext>
            </a:extLst>
          </p:cNvPr>
          <p:cNvSpPr/>
          <p:nvPr/>
        </p:nvSpPr>
        <p:spPr>
          <a:xfrm>
            <a:off x="2085784" y="303302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36678E34-C42F-4272-A80C-040E642AF4BE}"/>
              </a:ext>
            </a:extLst>
          </p:cNvPr>
          <p:cNvSpPr/>
          <p:nvPr/>
        </p:nvSpPr>
        <p:spPr>
          <a:xfrm>
            <a:off x="2393745" y="303302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12996ED4-A971-4578-B5CD-3D91B7A50B7D}"/>
              </a:ext>
            </a:extLst>
          </p:cNvPr>
          <p:cNvSpPr/>
          <p:nvPr/>
        </p:nvSpPr>
        <p:spPr>
          <a:xfrm>
            <a:off x="1469859" y="303302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xmlns="" id="{F4FC888B-7FCA-46F6-B3EA-F5E5A44DE1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03568" y="250851"/>
            <a:ext cx="1025765" cy="301519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xmlns="" id="{3AF8591F-F851-4C72-BCB4-63E779F403D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8170626" y="213443"/>
            <a:ext cx="387695" cy="395497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1CBCA750-0D02-43EE-9E93-00D25825C289}"/>
              </a:ext>
            </a:extLst>
          </p:cNvPr>
          <p:cNvSpPr txBox="1"/>
          <p:nvPr/>
        </p:nvSpPr>
        <p:spPr>
          <a:xfrm>
            <a:off x="1145272" y="868458"/>
            <a:ext cx="4725566" cy="523220"/>
          </a:xfrm>
          <a:prstGeom prst="rect">
            <a:avLst/>
          </a:prstGeom>
          <a:solidFill>
            <a:srgbClr val="000000"/>
          </a:solidFill>
          <a:ln>
            <a:solidFill>
              <a:srgbClr val="FFFFFF"/>
            </a:solidFill>
          </a:ln>
        </p:spPr>
        <p:txBody>
          <a:bodyPr wrap="square" numCol="1" rtlCol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# set hostname </a:t>
            </a:r>
            <a:b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</a:b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[</a:t>
            </a:r>
            <a:r>
              <a:rPr lang="en-US" sz="1400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root@localhost</a:t>
            </a: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~]# </a:t>
            </a:r>
            <a:r>
              <a:rPr lang="en-US" sz="1400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hostnamectl</a:t>
            </a: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set-hostname </a:t>
            </a:r>
            <a:r>
              <a:rPr lang="en-US" sz="1400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dlp.srv.world</a:t>
            </a:r>
            <a:endParaRPr lang="en-US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1A0968FF-3A6B-4414-9384-4DDBE0094754}"/>
              </a:ext>
            </a:extLst>
          </p:cNvPr>
          <p:cNvSpPr txBox="1"/>
          <p:nvPr/>
        </p:nvSpPr>
        <p:spPr>
          <a:xfrm>
            <a:off x="1145271" y="1707093"/>
            <a:ext cx="7312009" cy="1169551"/>
          </a:xfrm>
          <a:prstGeom prst="rect">
            <a:avLst/>
          </a:prstGeom>
          <a:solidFill>
            <a:srgbClr val="000000"/>
          </a:solidFill>
          <a:ln>
            <a:solidFill>
              <a:srgbClr val="FFFFFF"/>
            </a:solidFill>
          </a:ln>
        </p:spPr>
        <p:txBody>
          <a:bodyPr wrap="square" numCol="1" rtlCol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# display device </a:t>
            </a:r>
            <a:b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</a:b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[</a:t>
            </a:r>
            <a:r>
              <a:rPr lang="en-US" sz="1400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root@localhost</a:t>
            </a: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~]# </a:t>
            </a:r>
            <a:r>
              <a:rPr lang="en-US" sz="1400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nmcli</a:t>
            </a: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d </a:t>
            </a:r>
            <a:b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</a:b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DEVICE</a:t>
            </a:r>
            <a:r>
              <a:rPr lang="km-KH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</a:t>
            </a:r>
            <a:r>
              <a:rPr lang="km-KH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TYPE</a:t>
            </a:r>
            <a:r>
              <a:rPr lang="km-KH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	</a:t>
            </a: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STATE </a:t>
            </a:r>
            <a:r>
              <a:rPr lang="km-KH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	</a:t>
            </a: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CONNECTION </a:t>
            </a:r>
            <a:b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</a:b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eth0 </a:t>
            </a:r>
            <a:r>
              <a:rPr lang="km-KH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	</a:t>
            </a: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ethernet </a:t>
            </a:r>
            <a:r>
              <a:rPr lang="km-KH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	</a:t>
            </a: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connected </a:t>
            </a:r>
            <a:r>
              <a:rPr lang="km-KH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	</a:t>
            </a: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eth0 </a:t>
            </a:r>
            <a:b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</a:b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lo </a:t>
            </a:r>
            <a:r>
              <a:rPr lang="km-KH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	</a:t>
            </a: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loopback </a:t>
            </a:r>
            <a:r>
              <a:rPr lang="km-KH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	</a:t>
            </a: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unmanaged </a:t>
            </a:r>
            <a:r>
              <a:rPr lang="km-KH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	</a:t>
            </a: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--  </a:t>
            </a:r>
            <a:endParaRPr lang="en-US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206870FE-D437-4EAE-90C7-DEEA2DBF821A}"/>
              </a:ext>
            </a:extLst>
          </p:cNvPr>
          <p:cNvSpPr txBox="1"/>
          <p:nvPr/>
        </p:nvSpPr>
        <p:spPr>
          <a:xfrm>
            <a:off x="1145271" y="3170481"/>
            <a:ext cx="7312009" cy="523220"/>
          </a:xfrm>
          <a:prstGeom prst="rect">
            <a:avLst/>
          </a:prstGeom>
          <a:solidFill>
            <a:srgbClr val="000000"/>
          </a:solidFill>
          <a:ln>
            <a:solidFill>
              <a:srgbClr val="FFFFFF"/>
            </a:solidFill>
          </a:ln>
        </p:spPr>
        <p:txBody>
          <a:bodyPr wrap="square" numCol="1" rtlCol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# set IPv4 address =&gt; </a:t>
            </a:r>
            <a:r>
              <a:rPr lang="en-US" sz="1400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nmcli</a:t>
            </a: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*** [IP address] </a:t>
            </a:r>
            <a:b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</a:b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[</a:t>
            </a:r>
            <a:r>
              <a:rPr lang="en-US" sz="1400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root@localhost</a:t>
            </a: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~]# </a:t>
            </a:r>
            <a:r>
              <a:rPr lang="en-US" sz="1400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nmcli</a:t>
            </a: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c modify eth0 ipv4.address 10.0.0.1 </a:t>
            </a:r>
            <a:endParaRPr lang="en-US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64F91EFF-E0D6-40FF-B890-A1D0A2B11157}"/>
              </a:ext>
            </a:extLst>
          </p:cNvPr>
          <p:cNvSpPr txBox="1"/>
          <p:nvPr/>
        </p:nvSpPr>
        <p:spPr>
          <a:xfrm>
            <a:off x="1161896" y="4099282"/>
            <a:ext cx="7312009" cy="738664"/>
          </a:xfrm>
          <a:prstGeom prst="rect">
            <a:avLst/>
          </a:prstGeom>
          <a:solidFill>
            <a:srgbClr val="000000"/>
          </a:solidFill>
          <a:ln>
            <a:solidFill>
              <a:srgbClr val="FFFFFF"/>
            </a:solidFill>
          </a:ln>
        </p:spPr>
        <p:txBody>
          <a:bodyPr wrap="square" numCol="1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# set default gateway </a:t>
            </a:r>
          </a:p>
          <a:p>
            <a:pPr>
              <a:lnSpc>
                <a:spcPct val="150000"/>
              </a:lnSpc>
            </a:pP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[</a:t>
            </a:r>
            <a:r>
              <a:rPr lang="en-US" sz="1400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root@localhost</a:t>
            </a: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~]# </a:t>
            </a:r>
            <a:r>
              <a:rPr lang="en-US" sz="1400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nmcli</a:t>
            </a: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c modify eth0 ipv4.gateway 10.0.0.1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174100353"/>
      </p:ext>
    </p:extLst>
  </p:cSld>
  <p:clrMapOvr>
    <a:masterClrMapping/>
  </p:clrMapOvr>
  <p:transition spd="slow">
    <p:cover/>
  </p:transition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2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0FC3722-8F96-43A5-A133-2ADF5CE88875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xmlns="" id="{475343A4-333F-4558-9B30-BC15AAB1A318}"/>
              </a:ext>
            </a:extLst>
          </p:cNvPr>
          <p:cNvSpPr/>
          <p:nvPr/>
        </p:nvSpPr>
        <p:spPr>
          <a:xfrm>
            <a:off x="-50782" y="1"/>
            <a:ext cx="11302409" cy="519489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xmlns="" id="{925C2EED-F692-4F64-B5C8-DBB35B8EAE13}"/>
              </a:ext>
            </a:extLst>
          </p:cNvPr>
          <p:cNvSpPr/>
          <p:nvPr/>
        </p:nvSpPr>
        <p:spPr>
          <a:xfrm>
            <a:off x="-55546" y="66454"/>
            <a:ext cx="11251630" cy="507704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xmlns="" id="{BE6E1CF5-59DA-43AB-9866-0328CF12083B}"/>
              </a:ext>
            </a:extLst>
          </p:cNvPr>
          <p:cNvSpPr/>
          <p:nvPr/>
        </p:nvSpPr>
        <p:spPr>
          <a:xfrm>
            <a:off x="-3" y="127067"/>
            <a:ext cx="11111023" cy="4949979"/>
          </a:xfrm>
          <a:prstGeom prst="homePlat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xmlns="" id="{5386A08B-7D7F-47E3-92B0-DE14688643F9}"/>
              </a:ext>
            </a:extLst>
          </p:cNvPr>
          <p:cNvSpPr/>
          <p:nvPr/>
        </p:nvSpPr>
        <p:spPr>
          <a:xfrm>
            <a:off x="-74428" y="152763"/>
            <a:ext cx="11129905" cy="4889366"/>
          </a:xfrm>
          <a:prstGeom prst="homePlat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kumimoji="0" lang="en-US" sz="140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ng DaunKeo" panose="020B0503020102020204" pitchFamily="34" charset="0"/>
              <a:cs typeface="Ang DaunKeo" panose="020B0503020102020204" pitchFamily="34" charset="0"/>
              <a:sym typeface="Arial"/>
            </a:endParaRPr>
          </a:p>
          <a:p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</a:p>
          <a:p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r>
              <a:rPr lang="km-KH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៥.ការកំណត់ </a:t>
            </a: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DNS </a:t>
            </a:r>
          </a:p>
          <a:p>
            <a:endParaRPr lang="en-US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endParaRPr lang="en-US" sz="1400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</a:t>
            </a:r>
          </a:p>
          <a:p>
            <a:r>
              <a:rPr lang="en-US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r>
              <a:rPr lang="km-KH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៦.ការកំណត់ជា </a:t>
            </a: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Manual </a:t>
            </a:r>
            <a:r>
              <a:rPr lang="km-KH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សម្រាប់ </a:t>
            </a: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Static Setting </a:t>
            </a:r>
          </a:p>
          <a:p>
            <a:endParaRPr lang="en-US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endParaRPr lang="en-US" sz="1400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endParaRPr lang="en-US" sz="1400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r>
              <a:rPr lang="km-KH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៧.</a:t>
            </a: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Restart And Reload Setting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1A6F54B5-0441-4560-B588-51F6748A10E7}"/>
              </a:ext>
            </a:extLst>
          </p:cNvPr>
          <p:cNvSpPr/>
          <p:nvPr/>
        </p:nvSpPr>
        <p:spPr>
          <a:xfrm>
            <a:off x="853933" y="303302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E76D8363-97F8-4D84-B055-4CAB5AF1B9B9}"/>
              </a:ext>
            </a:extLst>
          </p:cNvPr>
          <p:cNvSpPr/>
          <p:nvPr/>
        </p:nvSpPr>
        <p:spPr>
          <a:xfrm>
            <a:off x="1161896" y="303302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E1E5901C-75B9-4255-B79F-AFC39A71CB5A}"/>
              </a:ext>
            </a:extLst>
          </p:cNvPr>
          <p:cNvSpPr/>
          <p:nvPr/>
        </p:nvSpPr>
        <p:spPr>
          <a:xfrm>
            <a:off x="1777821" y="303302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5B68763A-C0FE-4288-99F2-5FD3D1D6259F}"/>
              </a:ext>
            </a:extLst>
          </p:cNvPr>
          <p:cNvSpPr/>
          <p:nvPr/>
        </p:nvSpPr>
        <p:spPr>
          <a:xfrm>
            <a:off x="2085784" y="303302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36678E34-C42F-4272-A80C-040E642AF4BE}"/>
              </a:ext>
            </a:extLst>
          </p:cNvPr>
          <p:cNvSpPr/>
          <p:nvPr/>
        </p:nvSpPr>
        <p:spPr>
          <a:xfrm>
            <a:off x="2393745" y="303302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12996ED4-A971-4578-B5CD-3D91B7A50B7D}"/>
              </a:ext>
            </a:extLst>
          </p:cNvPr>
          <p:cNvSpPr/>
          <p:nvPr/>
        </p:nvSpPr>
        <p:spPr>
          <a:xfrm>
            <a:off x="1469859" y="303302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xmlns="" id="{F4FC888B-7FCA-46F6-B3EA-F5E5A44DE1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03568" y="250851"/>
            <a:ext cx="1025765" cy="301519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xmlns="" id="{3AF8591F-F851-4C72-BCB4-63E779F403D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8170626" y="213443"/>
            <a:ext cx="387695" cy="395497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1CBCA750-0D02-43EE-9E93-00D25825C289}"/>
              </a:ext>
            </a:extLst>
          </p:cNvPr>
          <p:cNvSpPr txBox="1"/>
          <p:nvPr/>
        </p:nvSpPr>
        <p:spPr>
          <a:xfrm>
            <a:off x="1161896" y="870382"/>
            <a:ext cx="4725566" cy="523220"/>
          </a:xfrm>
          <a:prstGeom prst="rect">
            <a:avLst/>
          </a:prstGeom>
          <a:solidFill>
            <a:srgbClr val="000000"/>
          </a:solidFill>
          <a:ln>
            <a:solidFill>
              <a:srgbClr val="FFFFFF"/>
            </a:solidFill>
          </a:ln>
        </p:spPr>
        <p:txBody>
          <a:bodyPr wrap="square" numCol="1" rtlCol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#set DNS 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[</a:t>
            </a:r>
            <a:r>
              <a:rPr lang="en-US" sz="1400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root@localhost</a:t>
            </a: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~]# </a:t>
            </a:r>
            <a:r>
              <a:rPr lang="en-US" sz="1400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nmcli</a:t>
            </a: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c modify eth0 ipv4.dns 10.0.0.1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8137355C-1EA5-4783-BE08-A724265B0AE6}"/>
              </a:ext>
            </a:extLst>
          </p:cNvPr>
          <p:cNvSpPr txBox="1"/>
          <p:nvPr/>
        </p:nvSpPr>
        <p:spPr>
          <a:xfrm>
            <a:off x="1161896" y="1702654"/>
            <a:ext cx="4725566" cy="523220"/>
          </a:xfrm>
          <a:prstGeom prst="rect">
            <a:avLst/>
          </a:prstGeom>
          <a:solidFill>
            <a:srgbClr val="000000"/>
          </a:solidFill>
          <a:ln>
            <a:solidFill>
              <a:srgbClr val="FFFFFF"/>
            </a:solidFill>
          </a:ln>
        </p:spPr>
        <p:txBody>
          <a:bodyPr wrap="square" numCol="1" rtlCol="0">
            <a:spAutoFit/>
          </a:bodyPr>
          <a:lstStyle/>
          <a:p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#set manual for static setting (it’s “auto” for DHCP) </a:t>
            </a:r>
          </a:p>
          <a:p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[</a:t>
            </a:r>
            <a:r>
              <a:rPr lang="en-US" sz="1400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root@localhost</a:t>
            </a: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~]# </a:t>
            </a:r>
            <a:r>
              <a:rPr lang="en-US" sz="1400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nmcli</a:t>
            </a: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c modify eth0 ipv4.method manual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EE949504-D202-4180-9F2A-C0268616F615}"/>
              </a:ext>
            </a:extLst>
          </p:cNvPr>
          <p:cNvSpPr txBox="1"/>
          <p:nvPr/>
        </p:nvSpPr>
        <p:spPr>
          <a:xfrm>
            <a:off x="1161897" y="2548295"/>
            <a:ext cx="5867118" cy="954107"/>
          </a:xfrm>
          <a:prstGeom prst="rect">
            <a:avLst/>
          </a:prstGeom>
          <a:solidFill>
            <a:srgbClr val="000000"/>
          </a:solidFill>
          <a:ln>
            <a:solidFill>
              <a:srgbClr val="FFFFFF"/>
            </a:solidFill>
          </a:ln>
        </p:spPr>
        <p:txBody>
          <a:bodyPr wrap="square" numCol="1" rtlCol="0">
            <a:spAutoFit/>
          </a:bodyPr>
          <a:lstStyle/>
          <a:p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# restart the interface and reload the setting </a:t>
            </a:r>
          </a:p>
          <a:p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[</a:t>
            </a:r>
            <a:r>
              <a:rPr lang="en-US" sz="1400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root@localhost</a:t>
            </a: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~]# </a:t>
            </a:r>
            <a:r>
              <a:rPr lang="en-US" sz="1400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nmcli</a:t>
            </a: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c down eth0; </a:t>
            </a:r>
            <a:r>
              <a:rPr lang="en-US" sz="1400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nmcli</a:t>
            </a: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c up eth0 </a:t>
            </a:r>
          </a:p>
          <a:p>
            <a:r>
              <a:rPr lang="en-US" sz="1400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Connetion</a:t>
            </a: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successfully activated </a:t>
            </a:r>
          </a:p>
          <a:p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(</a:t>
            </a:r>
            <a:r>
              <a:rPr lang="en-US" sz="1400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D.Bus</a:t>
            </a: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activepath</a:t>
            </a: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:/org/</a:t>
            </a:r>
            <a:r>
              <a:rPr lang="en-US" sz="1400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freedesktop</a:t>
            </a: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/</a:t>
            </a:r>
            <a:r>
              <a:rPr lang="en-US" sz="1400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NetworkManager</a:t>
            </a: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/</a:t>
            </a:r>
            <a:r>
              <a:rPr lang="en-US" sz="1400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ActiveConnection</a:t>
            </a: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/1)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408748308"/>
      </p:ext>
    </p:extLst>
  </p:cSld>
  <p:clrMapOvr>
    <a:masterClrMapping/>
  </p:clrMapOvr>
  <p:transition spd="slow">
    <p:cover/>
  </p:transition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6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0FC3722-8F96-43A5-A133-2ADF5CE88875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xmlns="" id="{475343A4-333F-4558-9B30-BC15AAB1A318}"/>
              </a:ext>
            </a:extLst>
          </p:cNvPr>
          <p:cNvSpPr/>
          <p:nvPr/>
        </p:nvSpPr>
        <p:spPr>
          <a:xfrm>
            <a:off x="-50782" y="1"/>
            <a:ext cx="11302409" cy="519489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xmlns="" id="{925C2EED-F692-4F64-B5C8-DBB35B8EAE13}"/>
              </a:ext>
            </a:extLst>
          </p:cNvPr>
          <p:cNvSpPr/>
          <p:nvPr/>
        </p:nvSpPr>
        <p:spPr>
          <a:xfrm>
            <a:off x="-55546" y="66454"/>
            <a:ext cx="11251630" cy="507704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xmlns="" id="{BE6E1CF5-59DA-43AB-9866-0328CF12083B}"/>
              </a:ext>
            </a:extLst>
          </p:cNvPr>
          <p:cNvSpPr/>
          <p:nvPr/>
        </p:nvSpPr>
        <p:spPr>
          <a:xfrm>
            <a:off x="-3" y="127067"/>
            <a:ext cx="11111023" cy="4949979"/>
          </a:xfrm>
          <a:prstGeom prst="homePlat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xmlns="" id="{5386A08B-7D7F-47E3-92B0-DE14688643F9}"/>
              </a:ext>
            </a:extLst>
          </p:cNvPr>
          <p:cNvSpPr/>
          <p:nvPr/>
        </p:nvSpPr>
        <p:spPr>
          <a:xfrm>
            <a:off x="-74428" y="152763"/>
            <a:ext cx="11129905" cy="4889366"/>
          </a:xfrm>
          <a:prstGeom prst="homePlat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ng DaunKeo" panose="020B0503020102020204" pitchFamily="34" charset="0"/>
                <a:cs typeface="Ang DaunKeo" panose="020B0503020102020204" pitchFamily="34" charset="0"/>
                <a:sym typeface="Arial"/>
              </a:rPr>
              <a:t>	</a:t>
            </a:r>
          </a:p>
          <a:p>
            <a:endParaRPr lang="en-US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ng DaunKeo" panose="020B0503020102020204" pitchFamily="34" charset="0"/>
                <a:cs typeface="Ang DaunKeo" panose="020B0503020102020204" pitchFamily="34" charset="0"/>
                <a:sym typeface="Arial"/>
              </a:rPr>
              <a:t>	</a:t>
            </a:r>
            <a:r>
              <a:rPr kumimoji="0" lang="km-KH" sz="14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ng DaunKeo" panose="020B0503020102020204" pitchFamily="34" charset="0"/>
                <a:cs typeface="Ang DaunKeo" panose="020B0503020102020204" pitchFamily="34" charset="0"/>
                <a:sym typeface="Arial"/>
              </a:rPr>
              <a:t>៨.ការបង្ហាញ </a:t>
            </a: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ng DaunKeo" panose="020B0503020102020204" pitchFamily="34" charset="0"/>
                <a:cs typeface="Ang DaunKeo" panose="020B0503020102020204" pitchFamily="34" charset="0"/>
                <a:sym typeface="Arial"/>
              </a:rPr>
              <a:t>Setting</a:t>
            </a:r>
            <a:endParaRPr lang="en-US" sz="1400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1A6F54B5-0441-4560-B588-51F6748A10E7}"/>
              </a:ext>
            </a:extLst>
          </p:cNvPr>
          <p:cNvSpPr/>
          <p:nvPr/>
        </p:nvSpPr>
        <p:spPr>
          <a:xfrm>
            <a:off x="853933" y="303302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E76D8363-97F8-4D84-B055-4CAB5AF1B9B9}"/>
              </a:ext>
            </a:extLst>
          </p:cNvPr>
          <p:cNvSpPr/>
          <p:nvPr/>
        </p:nvSpPr>
        <p:spPr>
          <a:xfrm>
            <a:off x="1161896" y="303302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E1E5901C-75B9-4255-B79F-AFC39A71CB5A}"/>
              </a:ext>
            </a:extLst>
          </p:cNvPr>
          <p:cNvSpPr/>
          <p:nvPr/>
        </p:nvSpPr>
        <p:spPr>
          <a:xfrm>
            <a:off x="1777821" y="303302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5B68763A-C0FE-4288-99F2-5FD3D1D6259F}"/>
              </a:ext>
            </a:extLst>
          </p:cNvPr>
          <p:cNvSpPr/>
          <p:nvPr/>
        </p:nvSpPr>
        <p:spPr>
          <a:xfrm>
            <a:off x="2085784" y="303302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36678E34-C42F-4272-A80C-040E642AF4BE}"/>
              </a:ext>
            </a:extLst>
          </p:cNvPr>
          <p:cNvSpPr/>
          <p:nvPr/>
        </p:nvSpPr>
        <p:spPr>
          <a:xfrm>
            <a:off x="2393745" y="303302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12996ED4-A971-4578-B5CD-3D91B7A50B7D}"/>
              </a:ext>
            </a:extLst>
          </p:cNvPr>
          <p:cNvSpPr/>
          <p:nvPr/>
        </p:nvSpPr>
        <p:spPr>
          <a:xfrm>
            <a:off x="1469859" y="303302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xmlns="" id="{F4FC888B-7FCA-46F6-B3EA-F5E5A44DE1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03568" y="250851"/>
            <a:ext cx="1025765" cy="301519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xmlns="" id="{3AF8591F-F851-4C72-BCB4-63E779F403D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8170626" y="213443"/>
            <a:ext cx="387695" cy="395497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1CBCA750-0D02-43EE-9E93-00D25825C289}"/>
              </a:ext>
            </a:extLst>
          </p:cNvPr>
          <p:cNvSpPr txBox="1"/>
          <p:nvPr/>
        </p:nvSpPr>
        <p:spPr>
          <a:xfrm>
            <a:off x="142794" y="944933"/>
            <a:ext cx="8694079" cy="2893100"/>
          </a:xfrm>
          <a:prstGeom prst="rect">
            <a:avLst/>
          </a:prstGeom>
          <a:solidFill>
            <a:srgbClr val="000000"/>
          </a:solidFill>
          <a:ln>
            <a:solidFill>
              <a:srgbClr val="FFFFFF"/>
            </a:solidFill>
          </a:ln>
        </p:spPr>
        <p:txBody>
          <a:bodyPr wrap="square" numCol="1" rtlCol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#show settings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[</a:t>
            </a:r>
            <a:r>
              <a:rPr lang="en-US" sz="1400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root@localhost</a:t>
            </a: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~]#  </a:t>
            </a:r>
            <a:r>
              <a:rPr lang="en-US" sz="1400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nmcli</a:t>
            </a: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d show eth0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GENERAL . DEVICE :			eth0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GENERAL.TYPE :			ethernet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GENERAL.HWADOR:			00:0C:29:CD:9C:2D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GENERAL.MIU :			1500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GENERAL.STATE :			100(connected)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GENERAL.CONNECTION:	                   		eth0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GENERAL.CON-PATH:	             		/org/</a:t>
            </a:r>
            <a:r>
              <a:rPr lang="en-US" sz="1400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freedesktop</a:t>
            </a: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/</a:t>
            </a:r>
            <a:r>
              <a:rPr lang="en-US" sz="1400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NetworkManager</a:t>
            </a: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/</a:t>
            </a:r>
            <a:r>
              <a:rPr lang="en-US" sz="1400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ActiveConnection</a:t>
            </a: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/0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WIRED-PROPERTIES.CARRIER:		on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IP4.ADDRESS[1]:			</a:t>
            </a:r>
            <a:r>
              <a:rPr lang="en-US" sz="1400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ip</a:t>
            </a: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=10.0.0.30/24,      </a:t>
            </a:r>
            <a:r>
              <a:rPr lang="en-US" sz="1400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gw</a:t>
            </a: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=  10.0.0.1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IP4.DNS[1] :			10.0.0.1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IP6.ADDRESS[1] :			</a:t>
            </a:r>
            <a:r>
              <a:rPr lang="en-US" sz="1400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ip</a:t>
            </a: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= fe80::20c:29ff:fecd:9c2d/64, </a:t>
            </a:r>
            <a:r>
              <a:rPr lang="en-US" sz="1400" dirty="0" err="1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gw</a:t>
            </a:r>
            <a:r>
              <a:rPr lang="en-US" sz="1400" dirty="0">
                <a:solidFill>
                  <a:schemeClr val="tx1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=  : :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058708006"/>
      </p:ext>
    </p:extLst>
  </p:cSld>
  <p:clrMapOvr>
    <a:masterClrMapping/>
  </p:clrMapOvr>
  <p:transition spd="slow">
    <p:cover/>
  </p:transition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0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0FC3722-8F96-43A5-A133-2ADF5CE88875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xmlns="" id="{475343A4-333F-4558-9B30-BC15AAB1A318}"/>
              </a:ext>
            </a:extLst>
          </p:cNvPr>
          <p:cNvSpPr/>
          <p:nvPr/>
        </p:nvSpPr>
        <p:spPr>
          <a:xfrm>
            <a:off x="-50782" y="1"/>
            <a:ext cx="11302409" cy="519489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xmlns="" id="{925C2EED-F692-4F64-B5C8-DBB35B8EAE13}"/>
              </a:ext>
            </a:extLst>
          </p:cNvPr>
          <p:cNvSpPr/>
          <p:nvPr/>
        </p:nvSpPr>
        <p:spPr>
          <a:xfrm>
            <a:off x="-55546" y="66454"/>
            <a:ext cx="11251630" cy="507704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xmlns="" id="{BE6E1CF5-59DA-43AB-9866-0328CF12083B}"/>
              </a:ext>
            </a:extLst>
          </p:cNvPr>
          <p:cNvSpPr/>
          <p:nvPr/>
        </p:nvSpPr>
        <p:spPr>
          <a:xfrm>
            <a:off x="-3" y="127067"/>
            <a:ext cx="11111023" cy="4949979"/>
          </a:xfrm>
          <a:prstGeom prst="homePlat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xmlns="" id="{5386A08B-7D7F-47E3-92B0-DE14688643F9}"/>
              </a:ext>
            </a:extLst>
          </p:cNvPr>
          <p:cNvSpPr/>
          <p:nvPr/>
        </p:nvSpPr>
        <p:spPr>
          <a:xfrm>
            <a:off x="-74428" y="152763"/>
            <a:ext cx="11129905" cy="4889366"/>
          </a:xfrm>
          <a:prstGeom prst="homePlat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ng DaunKeo" panose="020B0503020102020204" pitchFamily="34" charset="0"/>
                <a:cs typeface="Ang DaunKeo" panose="020B0503020102020204" pitchFamily="34" charset="0"/>
                <a:sym typeface="Arial"/>
              </a:rPr>
              <a:t>	</a:t>
            </a:r>
          </a:p>
          <a:p>
            <a:endParaRPr lang="en-US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ng DaunKeo" panose="020B0503020102020204" pitchFamily="34" charset="0"/>
                <a:cs typeface="Ang DaunKeo" panose="020B0503020102020204" pitchFamily="34" charset="0"/>
                <a:sym typeface="Arial"/>
              </a:rPr>
              <a:t>	</a:t>
            </a:r>
            <a:r>
              <a:rPr kumimoji="0" lang="km-KH" sz="14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ng DaunKeo" panose="020B0503020102020204" pitchFamily="34" charset="0"/>
                <a:cs typeface="Ang DaunKeo" panose="020B0503020102020204" pitchFamily="34" charset="0"/>
                <a:sym typeface="Arial"/>
              </a:rPr>
              <a:t>៩.ការបង្ហាញពី </a:t>
            </a: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ng DaunKeo" panose="020B0503020102020204" pitchFamily="34" charset="0"/>
                <a:cs typeface="Ang DaunKeo" panose="020B0503020102020204" pitchFamily="34" charset="0"/>
                <a:sym typeface="Arial"/>
              </a:rPr>
              <a:t>Status</a:t>
            </a:r>
            <a:endParaRPr lang="en-US" sz="1400" dirty="0">
              <a:solidFill>
                <a:schemeClr val="tx1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1A6F54B5-0441-4560-B588-51F6748A10E7}"/>
              </a:ext>
            </a:extLst>
          </p:cNvPr>
          <p:cNvSpPr/>
          <p:nvPr/>
        </p:nvSpPr>
        <p:spPr>
          <a:xfrm>
            <a:off x="853933" y="303302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E76D8363-97F8-4D84-B055-4CAB5AF1B9B9}"/>
              </a:ext>
            </a:extLst>
          </p:cNvPr>
          <p:cNvSpPr/>
          <p:nvPr/>
        </p:nvSpPr>
        <p:spPr>
          <a:xfrm>
            <a:off x="1161896" y="303302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E1E5901C-75B9-4255-B79F-AFC39A71CB5A}"/>
              </a:ext>
            </a:extLst>
          </p:cNvPr>
          <p:cNvSpPr/>
          <p:nvPr/>
        </p:nvSpPr>
        <p:spPr>
          <a:xfrm>
            <a:off x="1777821" y="303302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5B68763A-C0FE-4288-99F2-5FD3D1D6259F}"/>
              </a:ext>
            </a:extLst>
          </p:cNvPr>
          <p:cNvSpPr/>
          <p:nvPr/>
        </p:nvSpPr>
        <p:spPr>
          <a:xfrm>
            <a:off x="2085784" y="303302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36678E34-C42F-4272-A80C-040E642AF4BE}"/>
              </a:ext>
            </a:extLst>
          </p:cNvPr>
          <p:cNvSpPr/>
          <p:nvPr/>
        </p:nvSpPr>
        <p:spPr>
          <a:xfrm>
            <a:off x="2393745" y="303302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12996ED4-A971-4578-B5CD-3D91B7A50B7D}"/>
              </a:ext>
            </a:extLst>
          </p:cNvPr>
          <p:cNvSpPr/>
          <p:nvPr/>
        </p:nvSpPr>
        <p:spPr>
          <a:xfrm>
            <a:off x="1469859" y="303302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  <a:sym typeface="Arial"/>
            </a:endParaRP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xmlns="" id="{F4FC888B-7FCA-46F6-B3EA-F5E5A44DE1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03568" y="250851"/>
            <a:ext cx="1025765" cy="301519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xmlns="" id="{3AF8591F-F851-4C72-BCB4-63E779F403D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8170626" y="213443"/>
            <a:ext cx="387695" cy="395497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1CBCA750-0D02-43EE-9E93-00D25825C289}"/>
              </a:ext>
            </a:extLst>
          </p:cNvPr>
          <p:cNvSpPr txBox="1"/>
          <p:nvPr/>
        </p:nvSpPr>
        <p:spPr>
          <a:xfrm>
            <a:off x="853933" y="1125200"/>
            <a:ext cx="7912302" cy="2893100"/>
          </a:xfrm>
          <a:prstGeom prst="rect">
            <a:avLst/>
          </a:prstGeom>
          <a:solidFill>
            <a:srgbClr val="000000"/>
          </a:solidFill>
          <a:ln>
            <a:solidFill>
              <a:srgbClr val="FFFFFF"/>
            </a:solidFill>
          </a:ln>
        </p:spPr>
        <p:txBody>
          <a:bodyPr wrap="square" numCol="1" rtlCol="0">
            <a:spAutoFit/>
          </a:bodyPr>
          <a:lstStyle/>
          <a:p>
            <a:pPr marL="152400" indent="0">
              <a:buNone/>
            </a:pPr>
            <a:r>
              <a:rPr lang="en-US" sz="1400" b="1" i="0" u="none" strike="noStrike" baseline="0" dirty="0">
                <a:solidFill>
                  <a:srgbClr val="FFFFFF"/>
                </a:solidFill>
                <a:latin typeface="Calibri" panose="020F0502020204030204" pitchFamily="34" charset="0"/>
              </a:rPr>
              <a:t>#show status </a:t>
            </a:r>
            <a:endParaRPr lang="en-US" sz="1400" b="0" i="0" u="none" strike="noStrik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152400" indent="0">
              <a:buNone/>
            </a:pPr>
            <a:r>
              <a:rPr lang="en-US" sz="1400" b="1" i="0" u="none" strike="noStrike" baseline="0" dirty="0">
                <a:solidFill>
                  <a:srgbClr val="FFFFFF"/>
                </a:solidFill>
                <a:latin typeface="Calibri" panose="020F0502020204030204" pitchFamily="34" charset="0"/>
              </a:rPr>
              <a:t>[</a:t>
            </a:r>
            <a:r>
              <a:rPr lang="en-US" sz="1400" b="1" i="0" u="none" strike="noStrike" baseline="0" dirty="0" err="1">
                <a:solidFill>
                  <a:srgbClr val="FFFFFF"/>
                </a:solidFill>
                <a:latin typeface="Calibri" panose="020F0502020204030204" pitchFamily="34" charset="0"/>
              </a:rPr>
              <a:t>root@localhost</a:t>
            </a:r>
            <a:r>
              <a:rPr lang="en-US" sz="1400" b="1" i="0" u="none" strike="noStrike" baseline="0" dirty="0">
                <a:solidFill>
                  <a:srgbClr val="FFFFFF"/>
                </a:solidFill>
                <a:latin typeface="Calibri" panose="020F0502020204030204" pitchFamily="34" charset="0"/>
              </a:rPr>
              <a:t>~]#ip </a:t>
            </a:r>
            <a:r>
              <a:rPr lang="en-US" sz="1400" b="1" i="0" u="none" strike="noStrike" baseline="0" dirty="0" err="1">
                <a:solidFill>
                  <a:srgbClr val="FFFFFF"/>
                </a:solidFill>
                <a:latin typeface="Calibri" panose="020F0502020204030204" pitchFamily="34" charset="0"/>
              </a:rPr>
              <a:t>addr</a:t>
            </a:r>
            <a:r>
              <a:rPr lang="en-US" sz="1400" b="1" i="0" u="none" strike="noStrike" baseline="0" dirty="0">
                <a:solidFill>
                  <a:srgbClr val="FFFFFF"/>
                </a:solidFill>
                <a:latin typeface="Calibri" panose="020F0502020204030204" pitchFamily="34" charset="0"/>
              </a:rPr>
              <a:t> show </a:t>
            </a:r>
            <a:endParaRPr lang="en-US" sz="1400" b="0" i="0" u="none" strike="noStrik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152400" indent="0">
              <a:buNone/>
            </a:pPr>
            <a:r>
              <a:rPr lang="en-US" sz="1400" b="1" i="0" u="none" strike="noStrike" baseline="0" dirty="0">
                <a:solidFill>
                  <a:srgbClr val="FFFFFF"/>
                </a:solidFill>
                <a:latin typeface="Calibri" panose="020F0502020204030204" pitchFamily="34" charset="0"/>
              </a:rPr>
              <a:t>1:lo:&lt;LOOPBACK,UP,LOWER,UP&gt; </a:t>
            </a:r>
            <a:r>
              <a:rPr lang="en-US" sz="1400" b="1" i="0" u="none" strike="noStrike" baseline="0" dirty="0" err="1">
                <a:solidFill>
                  <a:srgbClr val="FFFFFF"/>
                </a:solidFill>
                <a:latin typeface="Calibri" panose="020F0502020204030204" pitchFamily="34" charset="0"/>
              </a:rPr>
              <a:t>mtu</a:t>
            </a:r>
            <a:r>
              <a:rPr lang="en-US" sz="1400" b="1" i="0" u="none" strike="noStrike" baseline="0" dirty="0">
                <a:solidFill>
                  <a:srgbClr val="FFFFFF"/>
                </a:solidFill>
                <a:latin typeface="Calibri" panose="020F0502020204030204" pitchFamily="34" charset="0"/>
              </a:rPr>
              <a:t> 65536 </a:t>
            </a:r>
            <a:r>
              <a:rPr lang="en-US" sz="1400" b="1" i="0" u="none" strike="noStrike" baseline="0" dirty="0" err="1">
                <a:solidFill>
                  <a:srgbClr val="FFFFFF"/>
                </a:solidFill>
                <a:latin typeface="Calibri" panose="020F0502020204030204" pitchFamily="34" charset="0"/>
              </a:rPr>
              <a:t>qdisc</a:t>
            </a:r>
            <a:r>
              <a:rPr lang="en-US" sz="1400" b="1" i="0" u="none" strike="noStrike" baseline="0" dirty="0">
                <a:solidFill>
                  <a:srgbClr val="FFFFFF"/>
                </a:solidFill>
                <a:latin typeface="Calibri" panose="020F0502020204030204" pitchFamily="34" charset="0"/>
              </a:rPr>
              <a:t> </a:t>
            </a:r>
            <a:r>
              <a:rPr lang="en-US" sz="1400" b="1" i="0" u="none" strike="noStrike" baseline="0" dirty="0" err="1">
                <a:solidFill>
                  <a:srgbClr val="FFFFFF"/>
                </a:solidFill>
                <a:latin typeface="Calibri" panose="020F0502020204030204" pitchFamily="34" charset="0"/>
              </a:rPr>
              <a:t>noqueue</a:t>
            </a:r>
            <a:r>
              <a:rPr lang="en-US" sz="1400" b="1" i="0" u="none" strike="noStrike" baseline="0" dirty="0">
                <a:solidFill>
                  <a:srgbClr val="FFFFFF"/>
                </a:solidFill>
                <a:latin typeface="Calibri" panose="020F0502020204030204" pitchFamily="34" charset="0"/>
              </a:rPr>
              <a:t> state UNKNOWN </a:t>
            </a:r>
            <a:endParaRPr lang="en-US" sz="1400" b="0" i="0" u="none" strike="noStrik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152400" indent="0">
              <a:buNone/>
            </a:pPr>
            <a:r>
              <a:rPr lang="en-US" sz="1400" b="1" i="0" u="none" strike="noStrike" baseline="0" dirty="0">
                <a:solidFill>
                  <a:srgbClr val="FFFFFF"/>
                </a:solidFill>
                <a:latin typeface="Calibri" panose="020F0502020204030204" pitchFamily="34" charset="0"/>
              </a:rPr>
              <a:t>	link/loopback 00:00:00</a:t>
            </a:r>
            <a:r>
              <a:rPr lang="en-US" sz="1400" b="0" i="0" u="none" strike="noStrike" baseline="0" dirty="0">
                <a:solidFill>
                  <a:srgbClr val="FFFFFF"/>
                </a:solidFill>
                <a:latin typeface="Segoe UI Emoji" panose="020B0502040204020203" pitchFamily="34" charset="0"/>
              </a:rPr>
              <a:t>:00:00:00 </a:t>
            </a:r>
            <a:r>
              <a:rPr lang="en-US" sz="1400" b="0" i="0" u="none" strike="noStrike" baseline="0" dirty="0" err="1">
                <a:solidFill>
                  <a:srgbClr val="FFFFFF"/>
                </a:solidFill>
                <a:latin typeface="Segoe UI Emoji" panose="020B0502040204020203" pitchFamily="34" charset="0"/>
              </a:rPr>
              <a:t>brd</a:t>
            </a:r>
            <a:r>
              <a:rPr lang="en-US" sz="1400" b="0" i="0" u="none" strike="noStrike" baseline="0" dirty="0">
                <a:solidFill>
                  <a:srgbClr val="FFFFFF"/>
                </a:solidFill>
                <a:latin typeface="Segoe UI Emoji" panose="020B0502040204020203" pitchFamily="34" charset="0"/>
              </a:rPr>
              <a:t> 00:00:00:00:00:00 </a:t>
            </a:r>
            <a:endParaRPr lang="en-US" sz="1400" b="0" i="0" u="none" strike="noStrik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152400" indent="0">
              <a:buNone/>
            </a:pPr>
            <a:r>
              <a:rPr lang="it-IT" sz="1400" b="0" i="0" u="none" strike="noStrike" baseline="0" dirty="0">
                <a:solidFill>
                  <a:schemeClr val="tx1"/>
                </a:solidFill>
                <a:latin typeface="Calibri" panose="020F0502020204030204" pitchFamily="34" charset="0"/>
              </a:rPr>
              <a:t>	inet 127.0.0.1/8 scope host lo </a:t>
            </a:r>
          </a:p>
          <a:p>
            <a:pPr marL="152400" indent="0">
              <a:buNone/>
            </a:pPr>
            <a:r>
              <a:rPr lang="nb-NO" sz="1400" b="0" i="0" u="none" strike="noStrike" baseline="0" dirty="0">
                <a:solidFill>
                  <a:srgbClr val="FFFFFF"/>
                </a:solidFill>
                <a:latin typeface="Segoe UI Emoji" panose="020B0502040204020203" pitchFamily="34" charset="0"/>
              </a:rPr>
              <a:t>		valid_lft forever preferred_lft forever </a:t>
            </a:r>
            <a:endParaRPr lang="nb-NO" sz="1400" b="0" i="0" u="none" strike="noStrik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152400" indent="0">
              <a:buNone/>
            </a:pPr>
            <a:r>
              <a:rPr lang="en-US" sz="1400" b="0" i="0" u="none" strike="noStrike" baseline="0" dirty="0">
                <a:solidFill>
                  <a:srgbClr val="FFFFFF"/>
                </a:solidFill>
                <a:latin typeface="Segoe UI Emoji" panose="020B0502040204020203" pitchFamily="34" charset="0"/>
              </a:rPr>
              <a:t>	inet6 :: 1/128 scope host </a:t>
            </a:r>
            <a:endParaRPr lang="en-US" sz="1400" b="0" i="0" u="none" strike="noStrik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152400" indent="0">
              <a:buNone/>
            </a:pPr>
            <a:r>
              <a:rPr lang="nb-NO" sz="1400" b="0" i="0" u="none" strike="noStrike" baseline="0" dirty="0">
                <a:solidFill>
                  <a:srgbClr val="FFFFFF"/>
                </a:solidFill>
                <a:latin typeface="Segoe UI Emoji" panose="020B0502040204020203" pitchFamily="34" charset="0"/>
              </a:rPr>
              <a:t>		valid_lft forever preferred _lft forever </a:t>
            </a:r>
            <a:endParaRPr lang="nb-NO" sz="1400" b="0" i="0" u="none" strike="noStrik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152400" indent="0">
              <a:buNone/>
            </a:pPr>
            <a:r>
              <a:rPr lang="en-US" sz="1400" b="0" i="0" u="none" strike="noStrike" baseline="0" dirty="0">
                <a:solidFill>
                  <a:srgbClr val="FFFFFF"/>
                </a:solidFill>
                <a:latin typeface="Segoe UI Emoji" panose="020B0502040204020203" pitchFamily="34" charset="0"/>
              </a:rPr>
              <a:t>2: eth0:&lt;</a:t>
            </a:r>
            <a:r>
              <a:rPr lang="en-US" b="0" i="0" u="none" strike="noStrike" baseline="0" dirty="0">
                <a:solidFill>
                  <a:srgbClr val="FFFFFF"/>
                </a:solidFill>
                <a:latin typeface="Segoe UI Emoji" panose="020B0502040204020203" pitchFamily="34" charset="0"/>
              </a:rPr>
              <a:t>BROADCAST,MULTICAST,UP,LOWER,UP</a:t>
            </a:r>
            <a:r>
              <a:rPr lang="en-US" sz="1400" b="0" i="0" u="none" strike="noStrike" baseline="0" dirty="0">
                <a:solidFill>
                  <a:srgbClr val="FFFFFF"/>
                </a:solidFill>
                <a:latin typeface="Segoe UI Emoji" panose="020B0502040204020203" pitchFamily="34" charset="0"/>
              </a:rPr>
              <a:t>&gt; </a:t>
            </a:r>
            <a:r>
              <a:rPr lang="en-US" sz="1400" b="0" i="0" u="none" strike="noStrike" baseline="0" dirty="0" err="1">
                <a:solidFill>
                  <a:srgbClr val="FFFFFF"/>
                </a:solidFill>
                <a:latin typeface="Segoe UI Emoji" panose="020B0502040204020203" pitchFamily="34" charset="0"/>
              </a:rPr>
              <a:t>mtu</a:t>
            </a:r>
            <a:r>
              <a:rPr lang="en-US" sz="1400" b="0" i="0" u="none" strike="noStrike" baseline="0" dirty="0">
                <a:solidFill>
                  <a:srgbClr val="FFFFFF"/>
                </a:solidFill>
                <a:latin typeface="Segoe UI Emoji" panose="020B0502040204020203" pitchFamily="34" charset="0"/>
              </a:rPr>
              <a:t> 1500 </a:t>
            </a:r>
            <a:r>
              <a:rPr lang="en-US" sz="1400" b="0" i="0" u="none" strike="noStrike" baseline="0" dirty="0" err="1">
                <a:solidFill>
                  <a:srgbClr val="FFFFFF"/>
                </a:solidFill>
                <a:latin typeface="Segoe UI Emoji" panose="020B0502040204020203" pitchFamily="34" charset="0"/>
              </a:rPr>
              <a:t>qdisc</a:t>
            </a:r>
            <a:r>
              <a:rPr lang="en-US" sz="1400" b="0" i="0" u="none" strike="noStrike" baseline="0" dirty="0">
                <a:solidFill>
                  <a:srgbClr val="FFFFFF"/>
                </a:solidFill>
                <a:latin typeface="Segoe UI Emoji" panose="020B0502040204020203" pitchFamily="34" charset="0"/>
              </a:rPr>
              <a:t> </a:t>
            </a:r>
            <a:r>
              <a:rPr lang="en-US" sz="1400" b="0" i="0" u="none" strike="noStrike" baseline="0" dirty="0" err="1">
                <a:solidFill>
                  <a:srgbClr val="FFFFFF"/>
                </a:solidFill>
                <a:latin typeface="Segoe UI Emoji" panose="020B0502040204020203" pitchFamily="34" charset="0"/>
              </a:rPr>
              <a:t>pfifo_fast</a:t>
            </a:r>
            <a:r>
              <a:rPr lang="en-US" sz="1400" b="0" i="0" u="none" strike="noStrike" baseline="0" dirty="0">
                <a:solidFill>
                  <a:srgbClr val="FFFFFF"/>
                </a:solidFill>
                <a:latin typeface="Segoe UI Emoji" panose="020B0502040204020203" pitchFamily="34" charset="0"/>
              </a:rPr>
              <a:t> state UP </a:t>
            </a:r>
            <a:r>
              <a:rPr lang="en-US" sz="1400" b="0" i="0" u="none" strike="noStrike" baseline="0" dirty="0" err="1">
                <a:solidFill>
                  <a:srgbClr val="FFFFFF"/>
                </a:solidFill>
                <a:latin typeface="Segoe UI Emoji" panose="020B0502040204020203" pitchFamily="34" charset="0"/>
              </a:rPr>
              <a:t>qlen</a:t>
            </a:r>
            <a:r>
              <a:rPr lang="en-US" sz="1400" b="0" i="0" u="none" strike="noStrike" baseline="0" dirty="0">
                <a:solidFill>
                  <a:srgbClr val="FFFFFF"/>
                </a:solidFill>
                <a:latin typeface="Segoe UI Emoji" panose="020B0502040204020203" pitchFamily="34" charset="0"/>
              </a:rPr>
              <a:t> 1000 </a:t>
            </a:r>
            <a:endParaRPr lang="en-US" sz="1400" b="0" i="0" u="none" strike="noStrik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152400" indent="0">
              <a:buNone/>
            </a:pPr>
            <a:r>
              <a:rPr lang="en-US" sz="1400" b="0" i="0" u="none" strike="noStrike" baseline="0" dirty="0">
                <a:solidFill>
                  <a:schemeClr val="tx1"/>
                </a:solidFill>
                <a:latin typeface="Calibri" panose="020F0502020204030204" pitchFamily="34" charset="0"/>
              </a:rPr>
              <a:t>	link/ether 00:0c:29:cd:9c:2d </a:t>
            </a:r>
            <a:r>
              <a:rPr lang="en-US" sz="1400" b="0" i="0" u="none" strike="noStrike" baseline="0" dirty="0" err="1">
                <a:solidFill>
                  <a:schemeClr val="tx1"/>
                </a:solidFill>
                <a:latin typeface="Calibri" panose="020F0502020204030204" pitchFamily="34" charset="0"/>
              </a:rPr>
              <a:t>brd</a:t>
            </a:r>
            <a:r>
              <a:rPr lang="en-US" sz="1400" b="0" i="0" u="none" strike="noStrike" baseline="0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sz="1400" b="0" i="0" u="none" strike="noStrike" baseline="0" dirty="0" err="1">
                <a:solidFill>
                  <a:schemeClr val="tx1"/>
                </a:solidFill>
                <a:latin typeface="Calibri" panose="020F0502020204030204" pitchFamily="34" charset="0"/>
              </a:rPr>
              <a:t>ff:ff:ff:ff:ff:ff</a:t>
            </a:r>
            <a:r>
              <a:rPr lang="en-US" sz="1400" b="0" i="0" u="none" strike="noStrike" baseline="0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</a:p>
          <a:p>
            <a:pPr marL="152400" indent="0">
              <a:buNone/>
            </a:pPr>
            <a:r>
              <a:rPr lang="en-US" sz="1400" b="0" i="0" u="none" strike="noStrike" baseline="0" dirty="0">
                <a:solidFill>
                  <a:srgbClr val="FFFFFF"/>
                </a:solidFill>
                <a:latin typeface="Segoe UI Emoji" panose="020B0502040204020203" pitchFamily="34" charset="0"/>
              </a:rPr>
              <a:t>	</a:t>
            </a:r>
            <a:r>
              <a:rPr lang="en-US" sz="1400" b="0" i="0" u="none" strike="noStrike" baseline="0" dirty="0" err="1">
                <a:solidFill>
                  <a:srgbClr val="FFFFFF"/>
                </a:solidFill>
                <a:latin typeface="Segoe UI Emoji" panose="020B0502040204020203" pitchFamily="34" charset="0"/>
              </a:rPr>
              <a:t>inet</a:t>
            </a:r>
            <a:r>
              <a:rPr lang="en-US" sz="1400" b="0" i="0" u="none" strike="noStrike" baseline="0" dirty="0">
                <a:solidFill>
                  <a:srgbClr val="FFFFFF"/>
                </a:solidFill>
                <a:latin typeface="Segoe UI Emoji" panose="020B0502040204020203" pitchFamily="34" charset="0"/>
              </a:rPr>
              <a:t> 10.0.0.30/24 </a:t>
            </a:r>
            <a:r>
              <a:rPr lang="en-US" sz="1400" b="0" i="0" u="none" strike="noStrike" baseline="0" dirty="0" err="1">
                <a:solidFill>
                  <a:srgbClr val="FFFFFF"/>
                </a:solidFill>
                <a:latin typeface="Segoe UI Emoji" panose="020B0502040204020203" pitchFamily="34" charset="0"/>
              </a:rPr>
              <a:t>brd</a:t>
            </a:r>
            <a:r>
              <a:rPr lang="en-US" sz="1400" b="0" i="0" u="none" strike="noStrike" baseline="0" dirty="0">
                <a:solidFill>
                  <a:srgbClr val="FFFFFF"/>
                </a:solidFill>
                <a:latin typeface="Segoe UI Emoji" panose="020B0502040204020203" pitchFamily="34" charset="0"/>
              </a:rPr>
              <a:t> 10.0.0.255 scope global eth0 </a:t>
            </a:r>
            <a:endParaRPr lang="en-US" sz="1400" b="0" i="0" u="none" strike="noStrik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152400" indent="0">
              <a:buNone/>
            </a:pPr>
            <a:r>
              <a:rPr lang="nb-NO" sz="1400" b="0" i="0" u="none" strike="noStrike" baseline="0" dirty="0">
                <a:solidFill>
                  <a:srgbClr val="FFFFFF"/>
                </a:solidFill>
                <a:latin typeface="Segoe UI Emoji" panose="020B0502040204020203" pitchFamily="34" charset="0"/>
              </a:rPr>
              <a:t>		valid_lft forever preferred _lft forever </a:t>
            </a:r>
            <a:endParaRPr lang="nb-NO" sz="1400" b="0" i="0" u="none" strike="noStrik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152400" indent="0">
              <a:buNone/>
            </a:pPr>
            <a:r>
              <a:rPr lang="en-US" sz="1400" b="0" i="0" u="none" strike="noStrike" baseline="0" dirty="0">
                <a:solidFill>
                  <a:srgbClr val="FFFFFF"/>
                </a:solidFill>
                <a:latin typeface="Segoe UI Emoji" panose="020B0502040204020203" pitchFamily="34" charset="0"/>
              </a:rPr>
              <a:t>	inet6 fe80::20c:29ff:fecd:9c2d/64 scope link</a:t>
            </a:r>
            <a:endParaRPr lang="en-US" sz="1050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55348976"/>
      </p:ext>
    </p:extLst>
  </p:cSld>
  <p:clrMapOvr>
    <a:masterClrMapping/>
  </p:clrMapOvr>
  <p:transition spd="slow">
    <p:cover/>
  </p:transition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rrow: Pentagon 8">
            <a:extLst>
              <a:ext uri="{FF2B5EF4-FFF2-40B4-BE49-F238E27FC236}">
                <a16:creationId xmlns:a16="http://schemas.microsoft.com/office/drawing/2014/main" xmlns="" id="{AA85D4C3-2BC7-4E50-8F60-B2018ADDE7D6}"/>
              </a:ext>
            </a:extLst>
          </p:cNvPr>
          <p:cNvSpPr/>
          <p:nvPr/>
        </p:nvSpPr>
        <p:spPr>
          <a:xfrm>
            <a:off x="0" y="714375"/>
            <a:ext cx="5000626" cy="59055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xmlns="" id="{42999A07-EA59-46B8-B26A-524183113BE5}"/>
              </a:ext>
            </a:extLst>
          </p:cNvPr>
          <p:cNvSpPr/>
          <p:nvPr/>
        </p:nvSpPr>
        <p:spPr>
          <a:xfrm>
            <a:off x="0" y="1457324"/>
            <a:ext cx="9144000" cy="2886075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8" name="Arrow: Pentagon 17">
            <a:extLst>
              <a:ext uri="{FF2B5EF4-FFF2-40B4-BE49-F238E27FC236}">
                <a16:creationId xmlns:a16="http://schemas.microsoft.com/office/drawing/2014/main" xmlns="" id="{3D58153F-9C2C-40F8-81AB-96E7C707D64B}"/>
              </a:ext>
            </a:extLst>
          </p:cNvPr>
          <p:cNvSpPr/>
          <p:nvPr/>
        </p:nvSpPr>
        <p:spPr>
          <a:xfrm>
            <a:off x="4762" y="1514738"/>
            <a:ext cx="9058275" cy="2761987"/>
          </a:xfrm>
          <a:prstGeom prst="homePlat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9" name="Arrow: Pentagon 18">
            <a:extLst>
              <a:ext uri="{FF2B5EF4-FFF2-40B4-BE49-F238E27FC236}">
                <a16:creationId xmlns:a16="http://schemas.microsoft.com/office/drawing/2014/main" xmlns="" id="{B36584C9-6869-4DBF-B596-8906FE7C54F7}"/>
              </a:ext>
            </a:extLst>
          </p:cNvPr>
          <p:cNvSpPr/>
          <p:nvPr/>
        </p:nvSpPr>
        <p:spPr>
          <a:xfrm>
            <a:off x="0" y="1557600"/>
            <a:ext cx="8991600" cy="2676261"/>
          </a:xfrm>
          <a:prstGeom prst="homePlat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xmlns="" id="{9DAB601D-4CD8-452D-BCA8-4B54519BC6DC}"/>
              </a:ext>
            </a:extLst>
          </p:cNvPr>
          <p:cNvSpPr/>
          <p:nvPr/>
        </p:nvSpPr>
        <p:spPr>
          <a:xfrm>
            <a:off x="-1" y="1590936"/>
            <a:ext cx="8920163" cy="2609587"/>
          </a:xfrm>
          <a:prstGeom prst="homePlat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1" name="Arrow: Pentagon 20">
            <a:extLst>
              <a:ext uri="{FF2B5EF4-FFF2-40B4-BE49-F238E27FC236}">
                <a16:creationId xmlns:a16="http://schemas.microsoft.com/office/drawing/2014/main" xmlns="" id="{E721137A-7625-4BDF-B24B-BB2796675E39}"/>
              </a:ext>
            </a:extLst>
          </p:cNvPr>
          <p:cNvSpPr/>
          <p:nvPr/>
        </p:nvSpPr>
        <p:spPr>
          <a:xfrm>
            <a:off x="-2" y="1590936"/>
            <a:ext cx="8884445" cy="2597291"/>
          </a:xfrm>
          <a:prstGeom prst="homePlat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000" b="0" i="0" u="none" strike="noStrike" kern="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Kbalthom HighSchool-Frame" panose="02000500000000000000" pitchFamily="2" charset="0"/>
                <a:cs typeface="AKbalthom HighSchool-Frame" panose="02000500000000000000" pitchFamily="2" charset="0"/>
                <a:sym typeface="Arial"/>
              </a:rPr>
              <a:t>   THANK</a:t>
            </a:r>
            <a:r>
              <a:rPr kumimoji="0" lang="en-US" sz="8000" b="0" i="0" u="none" strike="noStrike" kern="0" cap="none" spc="0" normalizeH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Kbalthom HighSchool-Frame" panose="02000500000000000000" pitchFamily="2" charset="0"/>
                <a:cs typeface="AKbalthom HighSchool-Frame" panose="02000500000000000000" pitchFamily="2" charset="0"/>
                <a:sym typeface="Arial"/>
              </a:rPr>
              <a:t> YOU</a:t>
            </a:r>
            <a:endParaRPr kumimoji="0" lang="en-US" sz="8000" b="0" i="0" u="none" strike="noStrike" kern="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Kbalthom HighSchool-Frame" panose="02000500000000000000" pitchFamily="2" charset="0"/>
              <a:cs typeface="AKbalthom HighSchool-Frame" panose="02000500000000000000" pitchFamily="2" charset="0"/>
              <a:sym typeface="Arial"/>
            </a:endParaRPr>
          </a:p>
        </p:txBody>
      </p:sp>
      <p:sp>
        <p:nvSpPr>
          <p:cNvPr id="22" name="Google Shape;211;p28">
            <a:extLst>
              <a:ext uri="{FF2B5EF4-FFF2-40B4-BE49-F238E27FC236}">
                <a16:creationId xmlns:a16="http://schemas.microsoft.com/office/drawing/2014/main" xmlns="" id="{9797FFCD-45DE-4E1E-ACA4-E8E5812BE89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951350" y="693787"/>
            <a:ext cx="4525525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bg1"/>
                </a:solidFill>
              </a:rPr>
              <a:t>      GROUP 3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B9D8CABD-F6E3-4B97-8585-4565D709065C}"/>
              </a:ext>
            </a:extLst>
          </p:cNvPr>
          <p:cNvSpPr/>
          <p:nvPr/>
        </p:nvSpPr>
        <p:spPr>
          <a:xfrm>
            <a:off x="6861336" y="196976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xmlns="" id="{AA783D03-A842-4EBE-8C28-6A9D67D24AB5}"/>
              </a:ext>
            </a:extLst>
          </p:cNvPr>
          <p:cNvSpPr/>
          <p:nvPr/>
        </p:nvSpPr>
        <p:spPr>
          <a:xfrm>
            <a:off x="7169299" y="196976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xmlns="" id="{FFE11F1B-1C95-4142-AC15-F27ECA06DB68}"/>
              </a:ext>
            </a:extLst>
          </p:cNvPr>
          <p:cNvSpPr/>
          <p:nvPr/>
        </p:nvSpPr>
        <p:spPr>
          <a:xfrm>
            <a:off x="7785224" y="196976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xmlns="" id="{418C1254-6E36-41FB-BBD1-01B1B18012E1}"/>
              </a:ext>
            </a:extLst>
          </p:cNvPr>
          <p:cNvSpPr/>
          <p:nvPr/>
        </p:nvSpPr>
        <p:spPr>
          <a:xfrm>
            <a:off x="8093187" y="196976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xmlns="" id="{B7F2C08E-3173-40DB-8D70-BD3011236E58}"/>
              </a:ext>
            </a:extLst>
          </p:cNvPr>
          <p:cNvSpPr/>
          <p:nvPr/>
        </p:nvSpPr>
        <p:spPr>
          <a:xfrm>
            <a:off x="8401148" y="196976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xmlns="" id="{571F8D1A-4998-47EA-AFF0-AEDBF5E0C51C}"/>
              </a:ext>
            </a:extLst>
          </p:cNvPr>
          <p:cNvSpPr/>
          <p:nvPr/>
        </p:nvSpPr>
        <p:spPr>
          <a:xfrm>
            <a:off x="7477262" y="196976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altLang="de-DE" sz="105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xmlns="" id="{3AF7ABD7-1AF4-412E-8FCD-233CC918AE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0330" y="144525"/>
            <a:ext cx="1025765" cy="301519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xmlns="" id="{78DD18D4-2611-45F4-832F-05F2372E2BE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/>
          <a:stretch/>
        </p:blipFill>
        <p:spPr>
          <a:xfrm>
            <a:off x="1897388" y="107117"/>
            <a:ext cx="387695" cy="3954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2874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2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2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2" grpId="0" animBg="1"/>
      <p:bldP spid="18" grpId="0" animBg="1"/>
      <p:bldP spid="19" grpId="0" animBg="1"/>
      <p:bldP spid="20" grpId="0" animBg="1"/>
      <p:bldP spid="21" grpId="0" animBg="1"/>
      <p:bldP spid="22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0FC3722-8F96-43A5-A133-2ADF5CE88875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xmlns="" id="{475343A4-333F-4558-9B30-BC15AAB1A318}"/>
              </a:ext>
            </a:extLst>
          </p:cNvPr>
          <p:cNvSpPr/>
          <p:nvPr/>
        </p:nvSpPr>
        <p:spPr>
          <a:xfrm>
            <a:off x="-50782" y="1"/>
            <a:ext cx="11302409" cy="519489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xmlns="" id="{925C2EED-F692-4F64-B5C8-DBB35B8EAE13}"/>
              </a:ext>
            </a:extLst>
          </p:cNvPr>
          <p:cNvSpPr/>
          <p:nvPr/>
        </p:nvSpPr>
        <p:spPr>
          <a:xfrm>
            <a:off x="4762" y="66454"/>
            <a:ext cx="11191322" cy="507704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xmlns="" id="{BE6E1CF5-59DA-43AB-9866-0328CF12083B}"/>
              </a:ext>
            </a:extLst>
          </p:cNvPr>
          <p:cNvSpPr/>
          <p:nvPr/>
        </p:nvSpPr>
        <p:spPr>
          <a:xfrm>
            <a:off x="-3" y="127067"/>
            <a:ext cx="11111023" cy="4949979"/>
          </a:xfrm>
          <a:prstGeom prst="homePlat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xmlns="" id="{5386A08B-7D7F-47E3-92B0-DE14688643F9}"/>
              </a:ext>
            </a:extLst>
          </p:cNvPr>
          <p:cNvSpPr/>
          <p:nvPr/>
        </p:nvSpPr>
        <p:spPr>
          <a:xfrm>
            <a:off x="-55546" y="152763"/>
            <a:ext cx="11111023" cy="4889366"/>
          </a:xfrm>
          <a:prstGeom prst="homePlat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200000"/>
              </a:lnSpc>
            </a:pPr>
            <a:r>
              <a:rPr lang="en-US" sz="1600" dirty="0">
                <a:solidFill>
                  <a:srgbClr val="FF560D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</a:p>
          <a:p>
            <a:pPr lvl="0">
              <a:lnSpc>
                <a:spcPct val="200000"/>
              </a:lnSpc>
            </a:pPr>
            <a:r>
              <a:rPr lang="en-US" sz="1600" dirty="0">
                <a:solidFill>
                  <a:srgbClr val="FF560D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r>
              <a:rPr lang="km-KH" sz="1600" dirty="0">
                <a:solidFill>
                  <a:srgbClr val="FF560D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តើ </a:t>
            </a:r>
            <a:r>
              <a:rPr lang="en-US" sz="1600" smtClean="0">
                <a:solidFill>
                  <a:srgbClr val="FF560D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scheduling </a:t>
            </a:r>
            <a:r>
              <a:rPr lang="en-US" sz="1600" dirty="0">
                <a:solidFill>
                  <a:srgbClr val="FF560D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resources </a:t>
            </a:r>
            <a:r>
              <a:rPr lang="km-KH" sz="1600" dirty="0">
                <a:solidFill>
                  <a:srgbClr val="FF560D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គឺជាអ្វី?</a:t>
            </a:r>
          </a:p>
          <a:p>
            <a:pPr lvl="0">
              <a:lnSpc>
                <a:spcPct val="200000"/>
              </a:lnSpc>
            </a:pP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Scheduling resources​ 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គឺជាការគ្រប់គ្រងលើ </a:t>
            </a: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Process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។ </a:t>
            </a: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Scheduling services 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ត្រូវបានចែកចេញជាបីគឺ​ ៖</a:t>
            </a:r>
            <a:endParaRPr lang="en-US" sz="1600" dirty="0">
              <a:solidFill>
                <a:srgbClr val="FFFFFF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lvl="0">
              <a:lnSpc>
                <a:spcPct val="200000"/>
              </a:lnSpc>
            </a:pP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	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១. </a:t>
            </a: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Processes 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ដែលដំណើរការគ្រប់ពេលវេលាទាំងអស់</a:t>
            </a: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(</a:t>
            </a: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ឬដំណើរតែម្តងគត់ប៉ុន្តែនៅពេល</a:t>
            </a:r>
            <a:endParaRPr lang="en-US" sz="1600" dirty="0">
              <a:solidFill>
                <a:srgbClr val="FFFFFF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lvl="0">
              <a:lnSpc>
                <a:spcPct val="200000"/>
              </a:lnSpc>
            </a:pP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	     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ដែល</a:t>
            </a: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System 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ដំណើរការតែប៉ុណ្ណោះ</a:t>
            </a: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)</a:t>
            </a:r>
          </a:p>
          <a:p>
            <a:pPr lvl="0">
              <a:lnSpc>
                <a:spcPct val="200000"/>
              </a:lnSpc>
            </a:pP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	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២.</a:t>
            </a: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Processes​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ដែលដំណើរការដដែលៗទៅតាមពេលវេលាដែលបានកំណត់</a:t>
            </a:r>
          </a:p>
          <a:p>
            <a:pPr lvl="0">
              <a:lnSpc>
                <a:spcPct val="200000"/>
              </a:lnSpc>
            </a:pP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	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៣.</a:t>
            </a: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Processes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ដែលដំណើរការតែម្តងគត់</a:t>
            </a:r>
            <a:endParaRPr lang="en-US" sz="1600" dirty="0">
              <a:solidFill>
                <a:srgbClr val="FFFFFF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lvl="0">
              <a:lnSpc>
                <a:spcPct val="200000"/>
              </a:lnSpc>
            </a:pP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ចំពោះ </a:t>
            </a: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Processes 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ដែលដំណើរការគ្រប់ពេលទាំងអស់មាន </a:t>
            </a: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Tools 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ពីរគឺ ៖ </a:t>
            </a:r>
            <a:r>
              <a:rPr lang="en-US" sz="1600" dirty="0" err="1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inittab</a:t>
            </a: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និង </a:t>
            </a:r>
            <a:r>
              <a:rPr lang="en-US" sz="1600" dirty="0" err="1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rc</a:t>
            </a: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files.</a:t>
            </a:r>
            <a:endParaRPr lang="km-KH" sz="1600" dirty="0">
              <a:solidFill>
                <a:srgbClr val="FFFFFF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lvl="0">
              <a:lnSpc>
                <a:spcPct val="200000"/>
              </a:lnSpc>
            </a:pP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endParaRPr lang="en-US" sz="1600" dirty="0">
              <a:solidFill>
                <a:schemeClr val="bg2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lvl="0">
              <a:lnSpc>
                <a:spcPct val="200000"/>
              </a:lnSpc>
            </a:pPr>
            <a:endParaRPr lang="en-US" sz="1600" dirty="0">
              <a:solidFill>
                <a:srgbClr val="FFFFFF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fontAlgn="ctr"/>
            <a:endParaRPr lang="en-US" sz="1600" dirty="0">
              <a:solidFill>
                <a:srgbClr val="FFFF00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1A6F54B5-0441-4560-B588-51F6748A10E7}"/>
              </a:ext>
            </a:extLst>
          </p:cNvPr>
          <p:cNvSpPr/>
          <p:nvPr/>
        </p:nvSpPr>
        <p:spPr>
          <a:xfrm>
            <a:off x="853933" y="303302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E76D8363-97F8-4D84-B055-4CAB5AF1B9B9}"/>
              </a:ext>
            </a:extLst>
          </p:cNvPr>
          <p:cNvSpPr/>
          <p:nvPr/>
        </p:nvSpPr>
        <p:spPr>
          <a:xfrm>
            <a:off x="1161896" y="303302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E1E5901C-75B9-4255-B79F-AFC39A71CB5A}"/>
              </a:ext>
            </a:extLst>
          </p:cNvPr>
          <p:cNvSpPr/>
          <p:nvPr/>
        </p:nvSpPr>
        <p:spPr>
          <a:xfrm>
            <a:off x="1777821" y="303302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5B68763A-C0FE-4288-99F2-5FD3D1D6259F}"/>
              </a:ext>
            </a:extLst>
          </p:cNvPr>
          <p:cNvSpPr/>
          <p:nvPr/>
        </p:nvSpPr>
        <p:spPr>
          <a:xfrm>
            <a:off x="2085784" y="303302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36678E34-C42F-4272-A80C-040E642AF4BE}"/>
              </a:ext>
            </a:extLst>
          </p:cNvPr>
          <p:cNvSpPr/>
          <p:nvPr/>
        </p:nvSpPr>
        <p:spPr>
          <a:xfrm>
            <a:off x="2393745" y="303302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12996ED4-A971-4578-B5CD-3D91B7A50B7D}"/>
              </a:ext>
            </a:extLst>
          </p:cNvPr>
          <p:cNvSpPr/>
          <p:nvPr/>
        </p:nvSpPr>
        <p:spPr>
          <a:xfrm>
            <a:off x="1469859" y="303302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xmlns="" id="{F4FC888B-7FCA-46F6-B3EA-F5E5A44DE1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03568" y="250851"/>
            <a:ext cx="1025765" cy="301519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xmlns="" id="{3AF8591F-F851-4C72-BCB4-63E779F403D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8170626" y="213443"/>
            <a:ext cx="387695" cy="395497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63305374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0FC3722-8F96-43A5-A133-2ADF5CE88875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xmlns="" id="{475343A4-333F-4558-9B30-BC15AAB1A318}"/>
              </a:ext>
            </a:extLst>
          </p:cNvPr>
          <p:cNvSpPr/>
          <p:nvPr/>
        </p:nvSpPr>
        <p:spPr>
          <a:xfrm>
            <a:off x="-50782" y="1"/>
            <a:ext cx="11302409" cy="519489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xmlns="" id="{925C2EED-F692-4F64-B5C8-DBB35B8EAE13}"/>
              </a:ext>
            </a:extLst>
          </p:cNvPr>
          <p:cNvSpPr/>
          <p:nvPr/>
        </p:nvSpPr>
        <p:spPr>
          <a:xfrm>
            <a:off x="4762" y="66454"/>
            <a:ext cx="11191322" cy="507704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xmlns="" id="{BE6E1CF5-59DA-43AB-9866-0328CF12083B}"/>
              </a:ext>
            </a:extLst>
          </p:cNvPr>
          <p:cNvSpPr/>
          <p:nvPr/>
        </p:nvSpPr>
        <p:spPr>
          <a:xfrm>
            <a:off x="-3" y="127067"/>
            <a:ext cx="11111023" cy="4949979"/>
          </a:xfrm>
          <a:prstGeom prst="homePlat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xmlns="" id="{5386A08B-7D7F-47E3-92B0-DE14688643F9}"/>
              </a:ext>
            </a:extLst>
          </p:cNvPr>
          <p:cNvSpPr/>
          <p:nvPr/>
        </p:nvSpPr>
        <p:spPr>
          <a:xfrm>
            <a:off x="-55546" y="152763"/>
            <a:ext cx="11111023" cy="4889366"/>
          </a:xfrm>
          <a:prstGeom prst="homePlat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indent="0">
              <a:lnSpc>
                <a:spcPct val="150000"/>
              </a:lnSpc>
            </a:pPr>
            <a:endParaRPr lang="en-US" sz="1600" dirty="0">
              <a:solidFill>
                <a:schemeClr val="bg2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marL="0" indent="0">
              <a:lnSpc>
                <a:spcPct val="150000"/>
              </a:lnSpc>
            </a:pPr>
            <a:endParaRPr lang="en-US" sz="1600" dirty="0">
              <a:solidFill>
                <a:schemeClr val="bg2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marL="0" indent="0">
              <a:lnSpc>
                <a:spcPct val="150000"/>
              </a:lnSpc>
            </a:pPr>
            <a:r>
              <a:rPr lang="en-US" sz="1600" dirty="0">
                <a:solidFill>
                  <a:schemeClr val="bg2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r>
              <a:rPr lang="en-US" sz="1600" dirty="0">
                <a:solidFill>
                  <a:srgbClr val="FF560D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Configuring </a:t>
            </a:r>
            <a:r>
              <a:rPr lang="en-US" sz="1600" dirty="0" err="1">
                <a:solidFill>
                  <a:srgbClr val="FF560D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inittab</a:t>
            </a:r>
            <a:r>
              <a:rPr lang="en-US" sz="1600" dirty="0">
                <a:solidFill>
                  <a:srgbClr val="FF560D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</a:t>
            </a:r>
            <a:r>
              <a:rPr lang="en-US" sz="1600" dirty="0" err="1">
                <a:solidFill>
                  <a:srgbClr val="FF560D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និង</a:t>
            </a:r>
            <a:r>
              <a:rPr lang="en-US" sz="1600" dirty="0">
                <a:solidFill>
                  <a:srgbClr val="FF560D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</a:t>
            </a:r>
            <a:r>
              <a:rPr lang="en-US" sz="1600" dirty="0" err="1">
                <a:solidFill>
                  <a:srgbClr val="FF560D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rc</a:t>
            </a:r>
            <a:r>
              <a:rPr lang="en-US" sz="1600" dirty="0">
                <a:solidFill>
                  <a:srgbClr val="FF560D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files </a:t>
            </a:r>
            <a:r>
              <a:rPr lang="en-US" sz="1600" dirty="0">
                <a:solidFill>
                  <a:schemeClr val="accent4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</a:p>
          <a:p>
            <a:pPr marL="0" indent="0">
              <a:lnSpc>
                <a:spcPct val="150000"/>
              </a:lnSpc>
            </a:pPr>
            <a:r>
              <a:rPr lang="en-US" sz="1600" dirty="0">
                <a:solidFill>
                  <a:srgbClr val="FF560D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Configuring crontab Scheduling Services</a:t>
            </a:r>
          </a:p>
          <a:p>
            <a:pPr lvl="0">
              <a:lnSpc>
                <a:spcPct val="150000"/>
              </a:lnSpc>
            </a:pP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r>
              <a:rPr lang="en-US" sz="1600" dirty="0" err="1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cron</a:t>
            </a: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ចាប់ផ្តើមពី</a:t>
            </a: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</a:t>
            </a:r>
            <a:r>
              <a:rPr lang="en-US" sz="1600" dirty="0" err="1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rc</a:t>
            </a: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or </a:t>
            </a:r>
            <a:r>
              <a:rPr lang="en-US" sz="1600" dirty="0" err="1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rc.local</a:t>
            </a: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ហើយដំណើរការដែលយើងមិនអាចមើលឃើញ។ </a:t>
            </a: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Cron​​ 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អាចដំណើរការ</a:t>
            </a:r>
            <a:endParaRPr lang="en-US" sz="1600" dirty="0">
              <a:solidFill>
                <a:srgbClr val="FFFFFF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lvl="0">
              <a:lnSpc>
                <a:spcPct val="150000"/>
              </a:lnSpc>
            </a:pP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មួយនាទីម្តងហើយអាចធ្វើការបានច្រើនដូចជា៖</a:t>
            </a:r>
            <a:endParaRPr lang="en-US" sz="1600" dirty="0">
              <a:solidFill>
                <a:srgbClr val="FFFFFF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lvl="0">
              <a:lnSpc>
                <a:spcPct val="150000"/>
              </a:lnSpc>
            </a:pP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	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-​វាត្រួតពិនិត្យអ្វីដែលវាបានស្គាល់ហើយដំណើរការតាមការកំណត់ទុក</a:t>
            </a:r>
          </a:p>
          <a:p>
            <a:pPr lvl="0">
              <a:lnSpc>
                <a:spcPct val="150000"/>
              </a:lnSpc>
            </a:pP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</a:t>
            </a: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-វាមានកំណត់ថាតើ </a:t>
            </a:r>
            <a:r>
              <a:rPr lang="en-US" sz="1600" dirty="0" err="1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modtime</a:t>
            </a: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នៅលើ </a:t>
            </a:r>
            <a:r>
              <a:rPr lang="en-US" sz="1600" dirty="0" err="1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cron</a:t>
            </a: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directory​ 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បានផ្លាស់ប្តូរ</a:t>
            </a:r>
          </a:p>
          <a:p>
            <a:pPr lvl="0">
              <a:lnSpc>
                <a:spcPct val="150000"/>
              </a:lnSpc>
            </a:pP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</a:t>
            </a: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	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-បើ </a:t>
            </a:r>
            <a:r>
              <a:rPr lang="en-US" sz="1600" dirty="0" err="1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modtime</a:t>
            </a: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​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នៅក្នុង </a:t>
            </a:r>
            <a:r>
              <a:rPr lang="en-US" sz="1600" dirty="0" err="1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cron</a:t>
            </a: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directory​ 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បានផ្លាស់ប្តូរ​ </a:t>
            </a:r>
            <a:r>
              <a:rPr lang="en-US" sz="1600" dirty="0" err="1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cron</a:t>
            </a: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​ 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ត្រួតពិនិត្យ​ </a:t>
            </a: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files 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នីមួយៗហើយបាន</a:t>
            </a: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		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ដំណើរការការអ្វីដែលបានផ្លាស់ប្តូរនោះ</a:t>
            </a:r>
            <a:endParaRPr lang="en-US" sz="1600" dirty="0">
              <a:solidFill>
                <a:srgbClr val="FFFFFF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1A6F54B5-0441-4560-B588-51F6748A10E7}"/>
              </a:ext>
            </a:extLst>
          </p:cNvPr>
          <p:cNvSpPr/>
          <p:nvPr/>
        </p:nvSpPr>
        <p:spPr>
          <a:xfrm>
            <a:off x="853933" y="303302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E76D8363-97F8-4D84-B055-4CAB5AF1B9B9}"/>
              </a:ext>
            </a:extLst>
          </p:cNvPr>
          <p:cNvSpPr/>
          <p:nvPr/>
        </p:nvSpPr>
        <p:spPr>
          <a:xfrm>
            <a:off x="1161896" y="303302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E1E5901C-75B9-4255-B79F-AFC39A71CB5A}"/>
              </a:ext>
            </a:extLst>
          </p:cNvPr>
          <p:cNvSpPr/>
          <p:nvPr/>
        </p:nvSpPr>
        <p:spPr>
          <a:xfrm>
            <a:off x="1777821" y="303302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5B68763A-C0FE-4288-99F2-5FD3D1D6259F}"/>
              </a:ext>
            </a:extLst>
          </p:cNvPr>
          <p:cNvSpPr/>
          <p:nvPr/>
        </p:nvSpPr>
        <p:spPr>
          <a:xfrm>
            <a:off x="2085784" y="303302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36678E34-C42F-4272-A80C-040E642AF4BE}"/>
              </a:ext>
            </a:extLst>
          </p:cNvPr>
          <p:cNvSpPr/>
          <p:nvPr/>
        </p:nvSpPr>
        <p:spPr>
          <a:xfrm>
            <a:off x="2393745" y="303302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12996ED4-A971-4578-B5CD-3D91B7A50B7D}"/>
              </a:ext>
            </a:extLst>
          </p:cNvPr>
          <p:cNvSpPr/>
          <p:nvPr/>
        </p:nvSpPr>
        <p:spPr>
          <a:xfrm>
            <a:off x="1469859" y="303302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xmlns="" id="{F4FC888B-7FCA-46F6-B3EA-F5E5A44DE1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03568" y="250851"/>
            <a:ext cx="1025765" cy="301519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xmlns="" id="{3AF8591F-F851-4C72-BCB4-63E779F403D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8170626" y="213443"/>
            <a:ext cx="387695" cy="395497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19020309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0FC3722-8F96-43A5-A133-2ADF5CE88875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xmlns="" id="{475343A4-333F-4558-9B30-BC15AAB1A318}"/>
              </a:ext>
            </a:extLst>
          </p:cNvPr>
          <p:cNvSpPr/>
          <p:nvPr/>
        </p:nvSpPr>
        <p:spPr>
          <a:xfrm>
            <a:off x="-50782" y="1"/>
            <a:ext cx="11302409" cy="519489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xmlns="" id="{925C2EED-F692-4F64-B5C8-DBB35B8EAE13}"/>
              </a:ext>
            </a:extLst>
          </p:cNvPr>
          <p:cNvSpPr/>
          <p:nvPr/>
        </p:nvSpPr>
        <p:spPr>
          <a:xfrm>
            <a:off x="4762" y="66454"/>
            <a:ext cx="11191322" cy="507704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xmlns="" id="{BE6E1CF5-59DA-43AB-9866-0328CF12083B}"/>
              </a:ext>
            </a:extLst>
          </p:cNvPr>
          <p:cNvSpPr/>
          <p:nvPr/>
        </p:nvSpPr>
        <p:spPr>
          <a:xfrm>
            <a:off x="-3" y="127067"/>
            <a:ext cx="11111023" cy="4949979"/>
          </a:xfrm>
          <a:prstGeom prst="homePlat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xmlns="" id="{5386A08B-7D7F-47E3-92B0-DE14688643F9}"/>
              </a:ext>
            </a:extLst>
          </p:cNvPr>
          <p:cNvSpPr/>
          <p:nvPr/>
        </p:nvSpPr>
        <p:spPr>
          <a:xfrm>
            <a:off x="-55546" y="152763"/>
            <a:ext cx="11111023" cy="4889366"/>
          </a:xfrm>
          <a:prstGeom prst="homePlat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200000"/>
              </a:lnSpc>
            </a:pPr>
            <a:endParaRPr lang="en-US" sz="1600" dirty="0">
              <a:solidFill>
                <a:srgbClr val="FF560D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lvl="0">
              <a:lnSpc>
                <a:spcPct val="200000"/>
              </a:lnSpc>
            </a:pPr>
            <a:r>
              <a:rPr lang="en-US" sz="1600" dirty="0">
                <a:solidFill>
                  <a:srgbClr val="FF560D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- Enabling crontab service</a:t>
            </a:r>
          </a:p>
          <a:p>
            <a:pPr lvl="0">
              <a:lnSpc>
                <a:spcPct val="200000"/>
              </a:lnSpc>
            </a:pP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វាជាការងាររបស់ ​</a:t>
            </a: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crontab file​​ 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ដែលបានកំណត់កាលបរិច្ឆេទចំពោះ ​</a:t>
            </a: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service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។</a:t>
            </a: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crontab daemon </a:t>
            </a:r>
          </a:p>
          <a:p>
            <a:pPr lvl="0">
              <a:lnSpc>
                <a:spcPct val="200000"/>
              </a:lnSpc>
            </a:pP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អាច​ </a:t>
            </a: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crontab file 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។ ​</a:t>
            </a: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crontab file 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ស្ថិតនៅក្នុង /</a:t>
            </a:r>
            <a:r>
              <a:rPr lang="en-US" sz="1600" dirty="0" err="1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etc</a:t>
            </a: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/crontab 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ហើយត្រូវបានគេ </a:t>
            </a: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edit 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វា​ </a:t>
            </a:r>
            <a:endParaRPr lang="en-US" sz="1600" dirty="0">
              <a:solidFill>
                <a:srgbClr val="FFFFFF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lvl="0">
              <a:lnSpc>
                <a:spcPct val="200000"/>
              </a:lnSpc>
            </a:pP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syntax 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ចំពោះ </a:t>
            </a: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crontab program 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មានដូចខាងក្រោម៖</a:t>
            </a:r>
          </a:p>
          <a:p>
            <a:pPr lvl="0">
              <a:lnSpc>
                <a:spcPct val="200000"/>
              </a:lnSpc>
            </a:pP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crontab [-u user] file</a:t>
            </a:r>
          </a:p>
          <a:p>
            <a:pPr lvl="0">
              <a:lnSpc>
                <a:spcPct val="200000"/>
              </a:lnSpc>
            </a:pP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crontab [-u user] -| -e –r</a:t>
            </a:r>
          </a:p>
          <a:p>
            <a:pPr lvl="0">
              <a:lnSpc>
                <a:spcPct val="200000"/>
              </a:lnSpc>
            </a:pPr>
            <a:endParaRPr lang="en-US" sz="1600" dirty="0">
              <a:solidFill>
                <a:srgbClr val="FFFFFF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  <a:p>
            <a:pPr lvl="0">
              <a:lnSpc>
                <a:spcPct val="200000"/>
              </a:lnSpc>
            </a:pPr>
            <a:endParaRPr lang="en-US" sz="1600" dirty="0">
              <a:solidFill>
                <a:schemeClr val="bg2"/>
              </a:solidFill>
              <a:latin typeface="Khmer OS Battambang" panose="02000500000000020004" pitchFamily="2" charset="0"/>
              <a:cs typeface="Khmer OS Battambang" panose="02000500000000020004" pitchFamily="2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1A6F54B5-0441-4560-B588-51F6748A10E7}"/>
              </a:ext>
            </a:extLst>
          </p:cNvPr>
          <p:cNvSpPr/>
          <p:nvPr/>
        </p:nvSpPr>
        <p:spPr>
          <a:xfrm>
            <a:off x="853933" y="303302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E76D8363-97F8-4D84-B055-4CAB5AF1B9B9}"/>
              </a:ext>
            </a:extLst>
          </p:cNvPr>
          <p:cNvSpPr/>
          <p:nvPr/>
        </p:nvSpPr>
        <p:spPr>
          <a:xfrm>
            <a:off x="1161896" y="303302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E1E5901C-75B9-4255-B79F-AFC39A71CB5A}"/>
              </a:ext>
            </a:extLst>
          </p:cNvPr>
          <p:cNvSpPr/>
          <p:nvPr/>
        </p:nvSpPr>
        <p:spPr>
          <a:xfrm>
            <a:off x="1777821" y="303302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5B68763A-C0FE-4288-99F2-5FD3D1D6259F}"/>
              </a:ext>
            </a:extLst>
          </p:cNvPr>
          <p:cNvSpPr/>
          <p:nvPr/>
        </p:nvSpPr>
        <p:spPr>
          <a:xfrm>
            <a:off x="2085784" y="303302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36678E34-C42F-4272-A80C-040E642AF4BE}"/>
              </a:ext>
            </a:extLst>
          </p:cNvPr>
          <p:cNvSpPr/>
          <p:nvPr/>
        </p:nvSpPr>
        <p:spPr>
          <a:xfrm>
            <a:off x="2393745" y="303302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12996ED4-A971-4578-B5CD-3D91B7A50B7D}"/>
              </a:ext>
            </a:extLst>
          </p:cNvPr>
          <p:cNvSpPr/>
          <p:nvPr/>
        </p:nvSpPr>
        <p:spPr>
          <a:xfrm>
            <a:off x="1469859" y="303302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xmlns="" id="{F4FC888B-7FCA-46F6-B3EA-F5E5A44DE1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03568" y="250851"/>
            <a:ext cx="1025765" cy="301519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xmlns="" id="{3AF8591F-F851-4C72-BCB4-63E779F403D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8170626" y="213443"/>
            <a:ext cx="387695" cy="395497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644712761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0FC3722-8F96-43A5-A133-2ADF5CE88875}"/>
              </a:ext>
            </a:extLst>
          </p:cNvPr>
          <p:cNvSpPr/>
          <p:nvPr/>
        </p:nvSpPr>
        <p:spPr>
          <a:xfrm>
            <a:off x="7868093" y="255181"/>
            <a:ext cx="1275907" cy="61668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>
              <a:solidFill>
                <a:schemeClr val="tx1"/>
              </a:solidFill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xmlns="" id="{475343A4-333F-4558-9B30-BC15AAB1A318}"/>
              </a:ext>
            </a:extLst>
          </p:cNvPr>
          <p:cNvSpPr/>
          <p:nvPr/>
        </p:nvSpPr>
        <p:spPr>
          <a:xfrm>
            <a:off x="-50782" y="1"/>
            <a:ext cx="11302409" cy="519489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xmlns="" id="{925C2EED-F692-4F64-B5C8-DBB35B8EAE13}"/>
              </a:ext>
            </a:extLst>
          </p:cNvPr>
          <p:cNvSpPr/>
          <p:nvPr/>
        </p:nvSpPr>
        <p:spPr>
          <a:xfrm>
            <a:off x="4762" y="66454"/>
            <a:ext cx="11191322" cy="507704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xmlns="" id="{BE6E1CF5-59DA-43AB-9866-0328CF12083B}"/>
              </a:ext>
            </a:extLst>
          </p:cNvPr>
          <p:cNvSpPr/>
          <p:nvPr/>
        </p:nvSpPr>
        <p:spPr>
          <a:xfrm>
            <a:off x="-3" y="127067"/>
            <a:ext cx="11111023" cy="4949979"/>
          </a:xfrm>
          <a:prstGeom prst="homePlat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xmlns="" id="{5386A08B-7D7F-47E3-92B0-DE14688643F9}"/>
              </a:ext>
            </a:extLst>
          </p:cNvPr>
          <p:cNvSpPr/>
          <p:nvPr/>
        </p:nvSpPr>
        <p:spPr>
          <a:xfrm>
            <a:off x="-55546" y="152763"/>
            <a:ext cx="11111023" cy="4889366"/>
          </a:xfrm>
          <a:prstGeom prst="homePlat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lvl="0" indent="0" rtl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</a:p>
          <a:p>
            <a:pPr marL="0" lvl="0" indent="0" rtl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ប៉ារ៉ាម៉ែត្រទាំងនេះបង្ហាញថា ៖ </a:t>
            </a:r>
          </a:p>
          <a:p>
            <a:pPr marL="0" lvl="0" indent="0" rtl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	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-</a:t>
            </a: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u : 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ប្រាប់ </a:t>
            </a: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system 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នូវឈ្មោះរបស់ </a:t>
            </a: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user 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ដែល </a:t>
            </a: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crontab file 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របស់គាត់ដែលត្រូវបានប្រើប្រាស់។</a:t>
            </a:r>
          </a:p>
          <a:p>
            <a:pPr marL="0" lvl="0" indent="0" rtl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      		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បើ  </a:t>
            </a: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u 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ត្រូវបានលុប ចេញ </a:t>
            </a: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system 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សន្មត់ថាអ្នកកំពុង </a:t>
            </a: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edit​ crontab</a:t>
            </a:r>
          </a:p>
          <a:p>
            <a:pPr marL="0" lvl="0" indent="0" rtl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	-l : 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ប្រាប់​ </a:t>
            </a: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crontab 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ឲ្យបង្ហាញតារាងនៃ </a:t>
            </a: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file 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មកកាន់ស្តង់ដា </a:t>
            </a: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output</a:t>
            </a:r>
          </a:p>
          <a:p>
            <a:pPr marL="0" lvl="0" indent="0" rtl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	-e : 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ប្រាប់​ </a:t>
            </a: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crontab 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ឲ្យ </a:t>
            </a: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edit file. </a:t>
            </a:r>
          </a:p>
          <a:p>
            <a:pPr marL="0" lvl="0" indent="0" rtl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		-r : </a:t>
            </a:r>
            <a:r>
              <a:rPr lang="km-KH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លុប </a:t>
            </a:r>
            <a:r>
              <a:rPr lang="en-US" sz="1600" dirty="0">
                <a:solidFill>
                  <a:srgbClr val="FFFFFF"/>
                </a:solidFill>
                <a:latin typeface="Ang DaunKeo" panose="020B0503020102020204" pitchFamily="34" charset="0"/>
                <a:cs typeface="Ang DaunKeo" panose="020B0503020102020204" pitchFamily="34" charset="0"/>
              </a:rPr>
              <a:t>crontab file.</a:t>
            </a:r>
          </a:p>
          <a:p>
            <a:pPr marL="0" lvl="0" indent="0" rtl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400" dirty="0">
              <a:solidFill>
                <a:srgbClr val="FFFFFF"/>
              </a:solidFill>
              <a:latin typeface="Ang DaunKeo" panose="020B0503020102020204" pitchFamily="34" charset="0"/>
              <a:cs typeface="Ang DaunKeo" panose="020B0503020102020204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1A6F54B5-0441-4560-B588-51F6748A10E7}"/>
              </a:ext>
            </a:extLst>
          </p:cNvPr>
          <p:cNvSpPr/>
          <p:nvPr/>
        </p:nvSpPr>
        <p:spPr>
          <a:xfrm>
            <a:off x="853933" y="303302"/>
            <a:ext cx="98309" cy="98309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E76D8363-97F8-4D84-B055-4CAB5AF1B9B9}"/>
              </a:ext>
            </a:extLst>
          </p:cNvPr>
          <p:cNvSpPr/>
          <p:nvPr/>
        </p:nvSpPr>
        <p:spPr>
          <a:xfrm>
            <a:off x="1161896" y="303302"/>
            <a:ext cx="98309" cy="98309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E1E5901C-75B9-4255-B79F-AFC39A71CB5A}"/>
              </a:ext>
            </a:extLst>
          </p:cNvPr>
          <p:cNvSpPr/>
          <p:nvPr/>
        </p:nvSpPr>
        <p:spPr>
          <a:xfrm>
            <a:off x="1777821" y="303302"/>
            <a:ext cx="98309" cy="98309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5B68763A-C0FE-4288-99F2-5FD3D1D6259F}"/>
              </a:ext>
            </a:extLst>
          </p:cNvPr>
          <p:cNvSpPr/>
          <p:nvPr/>
        </p:nvSpPr>
        <p:spPr>
          <a:xfrm>
            <a:off x="2085784" y="303302"/>
            <a:ext cx="98309" cy="98309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36678E34-C42F-4272-A80C-040E642AF4BE}"/>
              </a:ext>
            </a:extLst>
          </p:cNvPr>
          <p:cNvSpPr/>
          <p:nvPr/>
        </p:nvSpPr>
        <p:spPr>
          <a:xfrm>
            <a:off x="2393745" y="303302"/>
            <a:ext cx="98309" cy="98309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12996ED4-A971-4578-B5CD-3D91B7A50B7D}"/>
              </a:ext>
            </a:extLst>
          </p:cNvPr>
          <p:cNvSpPr/>
          <p:nvPr/>
        </p:nvSpPr>
        <p:spPr>
          <a:xfrm>
            <a:off x="1469859" y="303302"/>
            <a:ext cx="98309" cy="983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sz="1050"/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xmlns="" id="{F4FC888B-7FCA-46F6-B3EA-F5E5A44DE1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03568" y="250851"/>
            <a:ext cx="1025765" cy="301519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xmlns="" id="{3AF8591F-F851-4C72-BCB4-63E779F403D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8170626" y="213443"/>
            <a:ext cx="387695" cy="395497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737939352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WafMjsWiZAvtFQNKyrA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ZcveFcTuSouPSNhUDFi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lectronic Devices Business Plan by Slidesgo">
  <a:themeElements>
    <a:clrScheme name="Simple Light">
      <a:dk1>
        <a:srgbClr val="FFFFFF"/>
      </a:dk1>
      <a:lt1>
        <a:srgbClr val="000000"/>
      </a:lt1>
      <a:dk2>
        <a:srgbClr val="FF560D"/>
      </a:dk2>
      <a:lt2>
        <a:srgbClr val="9E9E9E"/>
      </a:lt2>
      <a:accent1>
        <a:srgbClr val="FFFFFF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FFFFFF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evel up! PowerPoint">
  <a:themeElements>
    <a:clrScheme name="Level up! PowerPoint">
      <a:dk1>
        <a:srgbClr val="353B48"/>
      </a:dk1>
      <a:lt1>
        <a:srgbClr val="F5F6FA"/>
      </a:lt1>
      <a:dk2>
        <a:srgbClr val="1A1D24"/>
      </a:dk2>
      <a:lt2>
        <a:srgbClr val="FFFFFF"/>
      </a:lt2>
      <a:accent1>
        <a:srgbClr val="00A8FF"/>
      </a:accent1>
      <a:accent2>
        <a:srgbClr val="FBC531"/>
      </a:accent2>
      <a:accent3>
        <a:srgbClr val="4CD137"/>
      </a:accent3>
      <a:accent4>
        <a:srgbClr val="E84118"/>
      </a:accent4>
      <a:accent5>
        <a:srgbClr val="7F8FA1"/>
      </a:accent5>
      <a:accent6>
        <a:srgbClr val="273C75"/>
      </a:accent6>
      <a:hlink>
        <a:srgbClr val="5B5B5B"/>
      </a:hlink>
      <a:folHlink>
        <a:srgbClr val="BFBFBF"/>
      </a:folHlink>
    </a:clrScheme>
    <a:fontScheme name="Level up! PowerPoint">
      <a:majorFont>
        <a:latin typeface="Segoe UI Black"/>
        <a:ea typeface=""/>
        <a:cs typeface=""/>
      </a:majorFont>
      <a:minorFont>
        <a:latin typeface="Segoe UI Semibold"/>
        <a:ea typeface=""/>
        <a:cs typeface=""/>
      </a:minorFont>
    </a:fontScheme>
    <a:fmtScheme name="Level up! PowerPoint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numCol="1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 numCol="1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numCol="1" rtlCol="0">
        <a:spAutoFit/>
      </a:bodyPr>
      <a:lstStyle>
        <a:defPPr algn="l">
          <a:defRPr sz="1400" kern="0" dirty="0" smtClean="0"/>
        </a:defPPr>
      </a:lstStyle>
    </a:txDef>
  </a:objectDefaults>
  <a:extraClrSchemeLst/>
  <a:custClrLst/>
  <a:extLst>
    <a:ext uri="{05A4C25C-085E-4340-85A3-A5531E510DB2}">
      <thm15:themeFamily xmlns:thm15="http://schemas.microsoft.com/office/thememl/2012/main" xmlns="" name="YouTube Template.potx" id="{09A9FD79-4AD2-4296-A2DD-9F92A25C9D11}" vid="{BFDEAB75-776D-4FD4-B1CD-15298D2A28B5}"/>
    </a:ext>
  </a:extLst>
</a:theme>
</file>

<file path=ppt/theme/theme3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648</TotalTime>
  <Words>2210</Words>
  <Application>Microsoft Office PowerPoint</Application>
  <PresentationFormat>On-screen Show (16:9)</PresentationFormat>
  <Paragraphs>732</Paragraphs>
  <Slides>58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2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8</vt:i4>
      </vt:variant>
    </vt:vector>
  </HeadingPairs>
  <TitlesOfParts>
    <vt:vector size="82" baseType="lpstr">
      <vt:lpstr>Arial</vt:lpstr>
      <vt:lpstr>Be Vietnam Pro</vt:lpstr>
      <vt:lpstr>Khmer OS Battambang</vt:lpstr>
      <vt:lpstr>Georgia</vt:lpstr>
      <vt:lpstr>Calibri</vt:lpstr>
      <vt:lpstr>Khmer Moul</vt:lpstr>
      <vt:lpstr>Ang DaunKeo</vt:lpstr>
      <vt:lpstr>AKbalthom HighSchool-Frame</vt:lpstr>
      <vt:lpstr>MoolBoran</vt:lpstr>
      <vt:lpstr>AKbalthom SuperheroKH</vt:lpstr>
      <vt:lpstr>Segoe UI Semibold</vt:lpstr>
      <vt:lpstr>DaunPenh</vt:lpstr>
      <vt:lpstr>សម្រាប់កូនខ្មែរ</vt:lpstr>
      <vt:lpstr>157</vt:lpstr>
      <vt:lpstr>109</vt:lpstr>
      <vt:lpstr>Segoe UI Black</vt:lpstr>
      <vt:lpstr>Segoe UI Emoji</vt:lpstr>
      <vt:lpstr>DM Sans</vt:lpstr>
      <vt:lpstr>Be Vietnam Pro Light</vt:lpstr>
      <vt:lpstr>Nunito Light</vt:lpstr>
      <vt:lpstr>Cabin</vt:lpstr>
      <vt:lpstr>Electronic Devices Business Plan by Slidesgo</vt:lpstr>
      <vt:lpstr>Level up! PowerPoint</vt:lpstr>
      <vt:lpstr>think-cell Slide</vt:lpstr>
      <vt:lpstr>LINUX PRESENTATION </vt:lpstr>
      <vt:lpstr>      GROUP 7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     GROUP 3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LECTRONIC DEVICES  BUSINESS PLAN</dc:title>
  <dc:creator>Annex</dc:creator>
  <cp:lastModifiedBy>JMC</cp:lastModifiedBy>
  <cp:revision>131</cp:revision>
  <dcterms:modified xsi:type="dcterms:W3CDTF">2023-12-07T09:30:26Z</dcterms:modified>
</cp:coreProperties>
</file>